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5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6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7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149" r:id="rId1"/>
    <p:sldMasterId id="2147484262" r:id="rId2"/>
    <p:sldMasterId id="2147484236" r:id="rId3"/>
    <p:sldMasterId id="2147484302" r:id="rId4"/>
    <p:sldMasterId id="2147484329" r:id="rId5"/>
    <p:sldMasterId id="2147484355" r:id="rId6"/>
    <p:sldMasterId id="2147484381" r:id="rId7"/>
    <p:sldMasterId id="2147484411" r:id="rId8"/>
  </p:sldMasterIdLst>
  <p:notesMasterIdLst>
    <p:notesMasterId r:id="rId19"/>
  </p:notesMasterIdLst>
  <p:handoutMasterIdLst>
    <p:handoutMasterId r:id="rId20"/>
  </p:handoutMasterIdLst>
  <p:sldIdLst>
    <p:sldId id="643" r:id="rId9"/>
    <p:sldId id="705" r:id="rId10"/>
    <p:sldId id="712" r:id="rId11"/>
    <p:sldId id="706" r:id="rId12"/>
    <p:sldId id="708" r:id="rId13"/>
    <p:sldId id="707" r:id="rId14"/>
    <p:sldId id="713" r:id="rId15"/>
    <p:sldId id="709" r:id="rId16"/>
    <p:sldId id="710" r:id="rId17"/>
    <p:sldId id="711" r:id="rId18"/>
  </p:sldIdLst>
  <p:sldSz cx="12192000" cy="6858000"/>
  <p:notesSz cx="7315200" cy="9601200"/>
  <p:defaultTextStyle>
    <a:defPPr>
      <a:defRPr lang="en-AU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ADAC8F6C-023F-46E4-A744-1513383D37D4}">
          <p14:sldIdLst>
            <p14:sldId id="643"/>
            <p14:sldId id="705"/>
            <p14:sldId id="712"/>
            <p14:sldId id="706"/>
            <p14:sldId id="708"/>
            <p14:sldId id="707"/>
            <p14:sldId id="713"/>
            <p14:sldId id="709"/>
            <p14:sldId id="710"/>
            <p14:sldId id="7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98" userDrawn="1">
          <p15:clr>
            <a:srgbClr val="A4A3A4"/>
          </p15:clr>
        </p15:guide>
        <p15:guide id="2" pos="2277" userDrawn="1">
          <p15:clr>
            <a:srgbClr val="A4A3A4"/>
          </p15:clr>
        </p15:guide>
        <p15:guide id="3" orient="horz" pos="3002" userDrawn="1">
          <p15:clr>
            <a:srgbClr val="A4A3A4"/>
          </p15:clr>
        </p15:guide>
        <p15:guide id="4" pos="2281" userDrawn="1">
          <p15:clr>
            <a:srgbClr val="A4A3A4"/>
          </p15:clr>
        </p15:guide>
        <p15:guide id="5" orient="horz" pos="3021" userDrawn="1">
          <p15:clr>
            <a:srgbClr val="A4A3A4"/>
          </p15:clr>
        </p15:guide>
        <p15:guide id="6" orient="horz" pos="3024" userDrawn="1">
          <p15:clr>
            <a:srgbClr val="A4A3A4"/>
          </p15:clr>
        </p15:guide>
        <p15:guide id="7" pos="2301" userDrawn="1">
          <p15:clr>
            <a:srgbClr val="A4A3A4"/>
          </p15:clr>
        </p15:guide>
        <p15:guide id="8" pos="230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jay Jaswal (Financial Services)" initials="AJ(S" lastIdx="0" clrIdx="0">
    <p:extLst/>
  </p:cmAuthor>
  <p:cmAuthor id="2" name="Amit Abhisek (Financial Services)" initials="AA(S" lastIdx="2" clrIdx="1">
    <p:extLst>
      <p:ext uri="{19B8F6BF-5375-455C-9EA6-DF929625EA0E}">
        <p15:presenceInfo xmlns:p15="http://schemas.microsoft.com/office/powerpoint/2012/main" userId="S-1-5-21-57989841-616249376-1801674531-219595" providerId="AD"/>
      </p:ext>
    </p:extLst>
  </p:cmAuthor>
  <p:cmAuthor id="3" name="Krupananda Reddy Boyareddigari (Financial Services)" initials="KRB(S" lastIdx="1" clrIdx="2">
    <p:extLst>
      <p:ext uri="{19B8F6BF-5375-455C-9EA6-DF929625EA0E}">
        <p15:presenceInfo xmlns:p15="http://schemas.microsoft.com/office/powerpoint/2012/main" userId="S::kreddybo@wipro.com::eb722edf-904d-47dd-aa78-4d8b136e31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0066FF"/>
    <a:srgbClr val="0000FF"/>
    <a:srgbClr val="339933"/>
    <a:srgbClr val="E9F5FE"/>
    <a:srgbClr val="008000"/>
    <a:srgbClr val="0070BC"/>
    <a:srgbClr val="007FD6"/>
    <a:srgbClr val="007CD0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5" autoAdjust="0"/>
    <p:restoredTop sz="92768" autoAdjust="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>
        <p:guide orient="horz" pos="2160"/>
        <p:guide pos="5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-3090" y="-90"/>
      </p:cViewPr>
      <p:guideLst>
        <p:guide orient="horz" pos="2998"/>
        <p:guide pos="2277"/>
        <p:guide orient="horz" pos="3002"/>
        <p:guide pos="2281"/>
        <p:guide orient="horz" pos="3021"/>
        <p:guide orient="horz" pos="3024"/>
        <p:guide pos="2301"/>
        <p:guide pos="23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2"/>
            <a:ext cx="3168726" cy="48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01" tIns="46201" rIns="92401" bIns="46201" numCol="1" anchor="t" anchorCtr="0" compatLnSpc="1">
            <a:prstTxWarp prst="textNoShape">
              <a:avLst/>
            </a:prstTxWarp>
          </a:bodyPr>
          <a:lstStyle>
            <a:lvl1pPr defTabSz="922111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4144769" y="2"/>
            <a:ext cx="3168725" cy="48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01" tIns="46201" rIns="92401" bIns="46201" numCol="1" anchor="t" anchorCtr="0" compatLnSpc="1">
            <a:prstTxWarp prst="textNoShape">
              <a:avLst/>
            </a:prstTxWarp>
          </a:bodyPr>
          <a:lstStyle>
            <a:lvl1pPr algn="r" defTabSz="922111">
              <a:defRPr sz="1200"/>
            </a:lvl1pPr>
          </a:lstStyle>
          <a:p>
            <a:pPr>
              <a:defRPr/>
            </a:pPr>
            <a:fld id="{32019D46-1B1B-4442-BDF5-E25C1BAB3956}" type="datetime1">
              <a:rPr lang="en-US"/>
              <a:pPr>
                <a:defRPr/>
              </a:pPr>
              <a:t>21/01/2020</a:t>
            </a:fld>
            <a:endParaRPr lang="en-AU" dirty="0"/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3063" y="9118151"/>
            <a:ext cx="3170432" cy="48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25" tIns="45313" rIns="90625" bIns="45313" numCol="1" anchor="b" anchorCtr="0" compatLnSpc="1">
            <a:prstTxWarp prst="textNoShape">
              <a:avLst/>
            </a:prstTxWarp>
          </a:bodyPr>
          <a:lstStyle>
            <a:lvl1pPr algn="r" defTabSz="907950" eaLnBrk="0" hangingPunct="0">
              <a:defRPr sz="1200"/>
            </a:lvl1pPr>
          </a:lstStyle>
          <a:p>
            <a:pPr>
              <a:defRPr/>
            </a:pPr>
            <a:fld id="{BEC067DF-5903-4EAD-8D0B-E1A87C2234EF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219923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2"/>
            <a:ext cx="3168726" cy="48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01" tIns="46201" rIns="92401" bIns="46201" numCol="1" anchor="t" anchorCtr="0" compatLnSpc="1">
            <a:prstTxWarp prst="textNoShape">
              <a:avLst/>
            </a:prstTxWarp>
          </a:bodyPr>
          <a:lstStyle>
            <a:lvl1pPr defTabSz="922111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4144769" y="2"/>
            <a:ext cx="3168725" cy="48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01" tIns="46201" rIns="92401" bIns="46201" numCol="1" anchor="t" anchorCtr="0" compatLnSpc="1">
            <a:prstTxWarp prst="textNoShape">
              <a:avLst/>
            </a:prstTxWarp>
          </a:bodyPr>
          <a:lstStyle>
            <a:lvl1pPr algn="r" defTabSz="922111">
              <a:defRPr sz="1200"/>
            </a:lvl1pPr>
          </a:lstStyle>
          <a:p>
            <a:pPr>
              <a:defRPr/>
            </a:pPr>
            <a:fld id="{26BFB3BA-00D0-4879-A7A5-757D094E4BE5}" type="datetime1">
              <a:rPr lang="en-US"/>
              <a:pPr>
                <a:defRPr/>
              </a:pPr>
              <a:t>21/01/2020</a:t>
            </a:fld>
            <a:endParaRPr lang="en-AU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9212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520" tIns="45261" rIns="90520" bIns="45261" rtlCol="0" anchor="ctr"/>
          <a:lstStyle/>
          <a:p>
            <a:pPr lvl="0"/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95139262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5" y="3889830"/>
            <a:ext cx="12191129" cy="2968170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7DBA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41119197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ou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2" y="4078800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294807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4" y="6426712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B944E5B-4517-42B8-AD4F-8089C13420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823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3410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441288" y="36000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440800" y="4478400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5738034" y="3285778"/>
            <a:ext cx="715943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86634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69" y="-22288"/>
            <a:ext cx="12240000" cy="6885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441288" y="36000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440800" y="4478400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218" y="5471893"/>
            <a:ext cx="6322780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34360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00997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41322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ctr">
              <a:defRPr/>
            </a:lvl1pPr>
          </a:lstStyle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</p:spTree>
    <p:extLst>
      <p:ext uri="{BB962C8B-B14F-4D97-AF65-F5344CB8AC3E}">
        <p14:creationId xmlns:p14="http://schemas.microsoft.com/office/powerpoint/2010/main" val="247624823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5" y="3889830"/>
            <a:ext cx="12191129" cy="2968170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AU" dirty="0"/>
              <a:t>Restrict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14773965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" y="1431"/>
            <a:ext cx="12191255" cy="68575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22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93"/>
            <a:ext cx="6322780" cy="1396345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AU" dirty="0"/>
              <a:t>Restricted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188671973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 2_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4128875" cy="6858000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68544" y="6428336"/>
            <a:ext cx="6240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pPr algn="r"/>
            <a:r>
              <a:rPr lang="en-AU" dirty="0"/>
              <a:t>Restricte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147710221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 2_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" y="122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4128875" cy="6857998"/>
          </a:xfrm>
          <a:prstGeom prst="rect">
            <a:avLst/>
          </a:prstGeom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68544" y="6428336"/>
            <a:ext cx="6240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algn="r"/>
            <a:r>
              <a:rPr lang="en-AU" dirty="0"/>
              <a:t>Restricted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395219273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Full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40840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27384"/>
            <a:ext cx="12192000" cy="6858000"/>
          </a:xfrm>
        </p:spPr>
        <p:txBody>
          <a:bodyPr bIns="360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Click in the icon to insert picture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546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rinter Friend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 i="0">
                <a:solidFill>
                  <a:schemeClr val="accent4"/>
                </a:solidFill>
                <a:latin typeface="+mj-lt"/>
                <a:ea typeface="Proxima Nova Semibold" charset="0"/>
                <a:cs typeface="Proxima Nova Semibold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6005" y="4078800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294807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4" y="6426712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41597A-A357-4636-BAC0-44A6AB805B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825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056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" y="3889829"/>
            <a:ext cx="12191129" cy="2968170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5658937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" y="122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9104978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Full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bIns="360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Click in the icon to insert picture.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55840" y="3861048"/>
            <a:ext cx="6253312" cy="478768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title</a:t>
            </a:r>
            <a:endParaRPr lang="en-AU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588" y="5124616"/>
            <a:ext cx="6252957" cy="608640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10371517" y="4759221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8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659108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5137998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2492896"/>
            <a:ext cx="10665600" cy="324274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73603" y="1342800"/>
            <a:ext cx="10665884" cy="962732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AU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506830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 numCol="2" spcCol="360000"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4704898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2800"/>
            <a:ext cx="10665600" cy="15318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3068960"/>
            <a:ext cx="10668000" cy="2666678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311878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1342800"/>
            <a:ext cx="10668000" cy="43956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4150188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28800" y="131687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3013048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2800"/>
            <a:ext cx="4953600" cy="4392000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265103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rinter Friendly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E8EFF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 i="0">
                <a:solidFill>
                  <a:schemeClr val="accent4"/>
                </a:solidFill>
                <a:latin typeface="+mj-lt"/>
                <a:ea typeface="Proxima Nova Semibold" charset="0"/>
                <a:cs typeface="Proxima Nova Semibold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2" y="4078800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294807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3605" y="6426007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A7F4A3-63C2-4EAD-8CE3-9024023F86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D185EA1E-79F1-42FE-BF0E-812787AB23E5}" type="slidenum">
              <a:rPr lang="en-AU" smtClean="0">
                <a:solidFill>
                  <a:srgbClr val="595A5B"/>
                </a:solidFill>
                <a:latin typeface="Verdana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dirty="0">
              <a:solidFill>
                <a:srgbClr val="595A5B"/>
              </a:solidFill>
              <a:latin typeface="Verdan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B3FFFB4-741F-41C0-8374-588A74F608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829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08842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9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80125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15829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5" name="Content Placeholder 2"/>
          <p:cNvSpPr>
            <a:spLocks noGrp="1"/>
          </p:cNvSpPr>
          <p:nvPr>
            <p:ph idx="21" hasCustomPrompt="1"/>
          </p:nvPr>
        </p:nvSpPr>
        <p:spPr>
          <a:xfrm>
            <a:off x="873600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17" name="Date Placeholder 15"/>
          <p:cNvSpPr>
            <a:spLocks noGrp="1"/>
          </p:cNvSpPr>
          <p:nvPr>
            <p:ph type="dt" sz="half" idx="23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4875963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6288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7553355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with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3" y="1342800"/>
            <a:ext cx="106673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2363611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441288" y="27072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440800" y="3908390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847005" y="3665699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17272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69" y="-22288"/>
            <a:ext cx="12240000" cy="6885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441288" y="27072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440800" y="3910704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847005" y="3665699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7DAAB11E-F162-4099-BE4E-DB549CF79C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583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09117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8827744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303894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5" y="3889830"/>
            <a:ext cx="12191129" cy="2968170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AU" dirty="0"/>
              <a:t>Restricte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10765411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" y="1431"/>
            <a:ext cx="12191255" cy="68575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22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93"/>
            <a:ext cx="6322780" cy="1396345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AU" dirty="0"/>
              <a:t>Restricted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347619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7072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2" y="4258807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473201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3" name="Teardrop 12"/>
          <p:cNvSpPr/>
          <p:nvPr userDrawn="1"/>
        </p:nvSpPr>
        <p:spPr>
          <a:xfrm rot="5400000">
            <a:off x="9743156" y="1363917"/>
            <a:ext cx="972000" cy="1296000"/>
          </a:xfrm>
          <a:prstGeom prst="teardrop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44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700" b="1" dirty="0">
              <a:solidFill>
                <a:srgbClr val="FFFFFF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541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 2_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4128875" cy="6858000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68544" y="6428336"/>
            <a:ext cx="6240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pPr algn="r"/>
            <a:r>
              <a:rPr lang="en-AU" dirty="0"/>
              <a:t>Restricte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9322202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 2_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" y="122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4128875" cy="6857998"/>
          </a:xfrm>
          <a:prstGeom prst="rect">
            <a:avLst/>
          </a:prstGeom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68544" y="6428336"/>
            <a:ext cx="6240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algn="r"/>
            <a:r>
              <a:rPr lang="en-AU" dirty="0"/>
              <a:t>Restricted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206484562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Full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40840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27384"/>
            <a:ext cx="12192000" cy="6858000"/>
          </a:xfrm>
        </p:spPr>
        <p:txBody>
          <a:bodyPr bIns="360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Click in the icon to insert picture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50829299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" y="3889829"/>
            <a:ext cx="12191129" cy="2968170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4730007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" y="122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7212695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Full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bIns="360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Click in the icon to insert picture.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55840" y="3861048"/>
            <a:ext cx="6253312" cy="478768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title</a:t>
            </a:r>
            <a:endParaRPr lang="en-AU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588" y="5124616"/>
            <a:ext cx="6252957" cy="608640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10371517" y="4759221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8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651172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621134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2492896"/>
            <a:ext cx="10665600" cy="324274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73603" y="1342800"/>
            <a:ext cx="10665884" cy="962732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AU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091927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 numCol="2" spcCol="360000"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1473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2800"/>
            <a:ext cx="10665600" cy="15318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3068960"/>
            <a:ext cx="10668000" cy="2666678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196354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5012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1342800"/>
            <a:ext cx="10668000" cy="43956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1355180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28800" y="131687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4491553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2800"/>
            <a:ext cx="4953600" cy="4392000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7579853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9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4412198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15829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5" name="Content Placeholder 2"/>
          <p:cNvSpPr>
            <a:spLocks noGrp="1"/>
          </p:cNvSpPr>
          <p:nvPr>
            <p:ph idx="21" hasCustomPrompt="1"/>
          </p:nvPr>
        </p:nvSpPr>
        <p:spPr>
          <a:xfrm>
            <a:off x="873600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17" name="Date Placeholder 15"/>
          <p:cNvSpPr>
            <a:spLocks noGrp="1"/>
          </p:cNvSpPr>
          <p:nvPr>
            <p:ph type="dt" sz="half" idx="23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3437862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6288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3282361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with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3" y="1342800"/>
            <a:ext cx="106673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4229688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441288" y="27072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440800" y="3908390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847005" y="3665699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70764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69" y="-22288"/>
            <a:ext cx="12240000" cy="6885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441288" y="27072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440800" y="3910704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847005" y="3665699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93"/>
            <a:ext cx="6322780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4473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817275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2492896"/>
            <a:ext cx="10665600" cy="324274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73603" y="1342800"/>
            <a:ext cx="10665884" cy="962732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AU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94357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811558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5325" y="1187015"/>
            <a:ext cx="11258183" cy="52297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44051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465321" y="1186297"/>
            <a:ext cx="5520307" cy="52304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03204" y="1186303"/>
            <a:ext cx="5520305" cy="52304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77048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325" y="1164086"/>
            <a:ext cx="1125818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  <a:lvl2pPr>
              <a:defRPr sz="2900"/>
            </a:lvl2pPr>
            <a:lvl3pPr>
              <a:defRPr sz="2700"/>
            </a:lvl3pPr>
            <a:lvl4pPr>
              <a:defRPr sz="2400"/>
            </a:lvl4pPr>
            <a:lvl5pPr>
              <a:defRPr sz="2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5325" y="1559995"/>
            <a:ext cx="11258183" cy="48567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067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1">
    <p:bg>
      <p:bgPr>
        <a:gradFill>
          <a:gsLst>
            <a:gs pos="0">
              <a:srgbClr val="017DBA"/>
            </a:gs>
            <a:gs pos="100000">
              <a:srgbClr val="0B385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5327" y="1288503"/>
            <a:ext cx="6709807" cy="1161492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algn="l">
              <a:lnSpc>
                <a:spcPts val="2924"/>
              </a:lnSpc>
              <a:defRPr sz="2024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045717" y="6537400"/>
            <a:ext cx="677793" cy="161888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563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65320" y="6537400"/>
            <a:ext cx="3681264" cy="161888"/>
          </a:xfrm>
        </p:spPr>
        <p:txBody>
          <a:bodyPr/>
          <a:lstStyle>
            <a:lvl1pPr>
              <a:defRPr sz="563"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opyright © 2016 Wipro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3443983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 bwMode="gray">
          <a:xfrm>
            <a:off x="694272" y="180273"/>
            <a:ext cx="10760633" cy="548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>
              <a:defRPr cap="none"/>
            </a:lvl1pPr>
          </a:lstStyle>
          <a:p>
            <a:pPr marL="0" lvl="0" eaLnBrk="0" hangingPunct="0">
              <a:spcBef>
                <a:spcPct val="20000"/>
              </a:spcBef>
            </a:pP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671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6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 userDrawn="1"/>
        </p:nvSpPr>
        <p:spPr>
          <a:xfrm>
            <a:off x="872224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6096000" y="2952000"/>
            <a:ext cx="481315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1875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5670" y="4078800"/>
            <a:ext cx="4812879" cy="159199"/>
          </a:xfrm>
        </p:spPr>
        <p:txBody>
          <a:bodyPr/>
          <a:lstStyle>
            <a:lvl1pPr marL="0" indent="0" algn="r">
              <a:buNone/>
              <a:defRPr sz="750">
                <a:solidFill>
                  <a:schemeClr val="bg1"/>
                </a:solidFill>
              </a:defRPr>
            </a:lvl1pPr>
            <a:lvl2pPr marL="0" indent="0" algn="r">
              <a:buNone/>
              <a:defRPr sz="900">
                <a:solidFill>
                  <a:schemeClr val="tx2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3606" y="6426009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75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95996" y="4294809"/>
            <a:ext cx="4813989" cy="215677"/>
          </a:xfrm>
        </p:spPr>
        <p:txBody>
          <a:bodyPr/>
          <a:lstStyle>
            <a:lvl1pPr algn="r"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2pPr>
            <a:lvl3pPr marL="162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3pPr>
            <a:lvl4pPr marL="324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4pPr>
            <a:lvl5pPr marL="486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23393" y="1520825"/>
            <a:ext cx="5088467" cy="381635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2304025" y="2779716"/>
            <a:ext cx="1727200" cy="129857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0"/>
            <a:ext cx="6439179" cy="140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737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6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1875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4" y="4078800"/>
            <a:ext cx="5292905" cy="159199"/>
          </a:xfrm>
        </p:spPr>
        <p:txBody>
          <a:bodyPr/>
          <a:lstStyle>
            <a:lvl1pPr marL="0" indent="0" algn="r">
              <a:buNone/>
              <a:defRPr sz="750">
                <a:solidFill>
                  <a:schemeClr val="bg1"/>
                </a:solidFill>
              </a:defRPr>
            </a:lvl1pPr>
            <a:lvl2pPr marL="0" indent="0" algn="r">
              <a:buNone/>
              <a:defRPr sz="900">
                <a:solidFill>
                  <a:schemeClr val="tx2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3" y="4294809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2pPr>
            <a:lvl3pPr marL="162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3pPr>
            <a:lvl4pPr marL="324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4pPr>
            <a:lvl5pPr marL="486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0"/>
            <a:ext cx="6439179" cy="1407080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6" y="6426714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75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47979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rinter Friend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1875" b="1" i="0">
                <a:solidFill>
                  <a:schemeClr val="accent4"/>
                </a:solidFill>
                <a:latin typeface="+mj-lt"/>
                <a:ea typeface="Proxima Nova Semibold" charset="0"/>
                <a:cs typeface="Proxima Nova Semibold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6006" y="4078800"/>
            <a:ext cx="5292905" cy="159199"/>
          </a:xfrm>
        </p:spPr>
        <p:txBody>
          <a:bodyPr/>
          <a:lstStyle>
            <a:lvl1pPr marL="0" indent="0" algn="r">
              <a:buNone/>
              <a:defRPr sz="750">
                <a:solidFill>
                  <a:schemeClr val="bg2"/>
                </a:solidFill>
              </a:defRPr>
            </a:lvl1pPr>
            <a:lvl2pPr marL="0" indent="0" algn="r">
              <a:buNone/>
              <a:defRPr sz="900">
                <a:solidFill>
                  <a:schemeClr val="tx2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3" y="4294809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750" b="0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2pPr>
            <a:lvl3pPr marL="162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3pPr>
            <a:lvl4pPr marL="324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4pPr>
            <a:lvl5pPr marL="486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6" y="6426714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75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9"/>
            <a:ext cx="6439179" cy="14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79767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rinter Friendly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E8EFF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1875" b="1" i="0">
                <a:solidFill>
                  <a:schemeClr val="accent4"/>
                </a:solidFill>
                <a:latin typeface="+mj-lt"/>
                <a:ea typeface="Proxima Nova Semibold" charset="0"/>
                <a:cs typeface="Proxima Nova Semibold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4" y="4078800"/>
            <a:ext cx="5292905" cy="159199"/>
          </a:xfrm>
        </p:spPr>
        <p:txBody>
          <a:bodyPr/>
          <a:lstStyle>
            <a:lvl1pPr marL="0" indent="0" algn="r">
              <a:buNone/>
              <a:defRPr sz="750">
                <a:solidFill>
                  <a:schemeClr val="bg2"/>
                </a:solidFill>
              </a:defRPr>
            </a:lvl1pPr>
            <a:lvl2pPr marL="0" indent="0" algn="r">
              <a:buNone/>
              <a:defRPr sz="900">
                <a:solidFill>
                  <a:schemeClr val="tx2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3" y="4294809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750" b="0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2pPr>
            <a:lvl3pPr marL="162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3pPr>
            <a:lvl4pPr marL="324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4pPr>
            <a:lvl5pPr marL="486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3606" y="6426009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75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9"/>
            <a:ext cx="6439179" cy="14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9858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 numCol="2" spcCol="360000"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74338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6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7072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1875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4" y="4258809"/>
            <a:ext cx="5292905" cy="159199"/>
          </a:xfrm>
        </p:spPr>
        <p:txBody>
          <a:bodyPr/>
          <a:lstStyle>
            <a:lvl1pPr marL="0" indent="0" algn="r">
              <a:buNone/>
              <a:defRPr sz="750">
                <a:solidFill>
                  <a:schemeClr val="bg1"/>
                </a:solidFill>
              </a:defRPr>
            </a:lvl1pPr>
            <a:lvl2pPr marL="0" indent="0" algn="r">
              <a:buNone/>
              <a:defRPr sz="900">
                <a:solidFill>
                  <a:schemeClr val="tx2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3" y="4473203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2pPr>
            <a:lvl3pPr marL="162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3pPr>
            <a:lvl4pPr marL="324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4pPr>
            <a:lvl5pPr marL="486000" indent="0" algn="r">
              <a:spcBef>
                <a:spcPts val="0"/>
              </a:spcBef>
              <a:buNone/>
              <a:defRPr sz="825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3" name="Teardrop 12"/>
          <p:cNvSpPr/>
          <p:nvPr userDrawn="1"/>
        </p:nvSpPr>
        <p:spPr>
          <a:xfrm rot="5400000">
            <a:off x="9743156" y="1363917"/>
            <a:ext cx="972000" cy="1296000"/>
          </a:xfrm>
          <a:prstGeom prst="teardrop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08000" tIns="27000" rIns="27000" bIns="27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25" b="1" dirty="0">
              <a:solidFill>
                <a:srgbClr val="FFFFFF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76029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6" name="Text Box 10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75849" y="6627813"/>
            <a:ext cx="3937000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-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30000"/>
              </a:spcAft>
              <a:buClrTx/>
            </a:pPr>
            <a:r>
              <a:rPr lang="en-AU" altLang="en-US" sz="750" b="1" dirty="0">
                <a:solidFill>
                  <a:srgbClr val="FF33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500529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2492896"/>
            <a:ext cx="10665600" cy="324274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73603" y="1342800"/>
            <a:ext cx="10665884" cy="962732"/>
          </a:xfrm>
        </p:spPr>
        <p:txBody>
          <a:bodyPr/>
          <a:lstStyle>
            <a:lvl1pPr>
              <a:defRPr sz="1350">
                <a:solidFill>
                  <a:schemeClr val="tx2"/>
                </a:solidFill>
              </a:defRPr>
            </a:lvl1pPr>
            <a:lvl2pPr>
              <a:defRPr sz="1350">
                <a:solidFill>
                  <a:schemeClr val="tx2"/>
                </a:solidFill>
              </a:defRPr>
            </a:lvl2pPr>
            <a:lvl3pPr>
              <a:defRPr sz="135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AU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6" y="5835600"/>
            <a:ext cx="7978607" cy="442800"/>
          </a:xfrm>
        </p:spPr>
        <p:txBody>
          <a:bodyPr anchor="b"/>
          <a:lstStyle>
            <a:lvl1pPr>
              <a:defRPr sz="675" baseline="0">
                <a:solidFill>
                  <a:schemeClr val="tx1"/>
                </a:solidFill>
              </a:defRPr>
            </a:lvl1pPr>
            <a:lvl2pPr>
              <a:defRPr sz="675">
                <a:solidFill>
                  <a:schemeClr val="tx1"/>
                </a:solidFill>
              </a:defRPr>
            </a:lvl2pPr>
            <a:lvl3pPr>
              <a:defRPr sz="675">
                <a:solidFill>
                  <a:schemeClr val="tx1"/>
                </a:solidFill>
              </a:defRPr>
            </a:lvl3pPr>
            <a:lvl4pPr>
              <a:defRPr sz="675">
                <a:solidFill>
                  <a:schemeClr val="tx1"/>
                </a:solidFill>
              </a:defRPr>
            </a:lvl4pPr>
            <a:lvl5pPr>
              <a:defRPr sz="675">
                <a:solidFill>
                  <a:schemeClr val="tx1"/>
                </a:solidFill>
              </a:defRPr>
            </a:lvl5pPr>
            <a:lvl6pPr>
              <a:defRPr sz="675">
                <a:solidFill>
                  <a:schemeClr val="tx1"/>
                </a:solidFill>
              </a:defRPr>
            </a:lvl6pPr>
            <a:lvl7pPr>
              <a:defRPr sz="675">
                <a:solidFill>
                  <a:schemeClr val="tx1"/>
                </a:solidFill>
              </a:defRPr>
            </a:lvl7pPr>
            <a:lvl8pPr>
              <a:defRPr sz="675">
                <a:solidFill>
                  <a:schemeClr val="tx1"/>
                </a:solidFill>
              </a:defRPr>
            </a:lvl8pPr>
            <a:lvl9pPr>
              <a:defRPr sz="6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98981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 numCol="2" spcCol="360000"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12342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2800"/>
            <a:ext cx="10665600" cy="15318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3068960"/>
            <a:ext cx="10668000" cy="2666678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6" y="5835600"/>
            <a:ext cx="7978607" cy="442800"/>
          </a:xfrm>
        </p:spPr>
        <p:txBody>
          <a:bodyPr anchor="b"/>
          <a:lstStyle>
            <a:lvl1pPr>
              <a:defRPr sz="675" baseline="0">
                <a:solidFill>
                  <a:schemeClr val="tx1"/>
                </a:solidFill>
              </a:defRPr>
            </a:lvl1pPr>
            <a:lvl2pPr>
              <a:defRPr sz="675">
                <a:solidFill>
                  <a:schemeClr val="tx1"/>
                </a:solidFill>
              </a:defRPr>
            </a:lvl2pPr>
            <a:lvl3pPr>
              <a:defRPr sz="675">
                <a:solidFill>
                  <a:schemeClr val="tx1"/>
                </a:solidFill>
              </a:defRPr>
            </a:lvl3pPr>
            <a:lvl4pPr>
              <a:defRPr sz="675">
                <a:solidFill>
                  <a:schemeClr val="tx1"/>
                </a:solidFill>
              </a:defRPr>
            </a:lvl4pPr>
            <a:lvl5pPr>
              <a:defRPr sz="675">
                <a:solidFill>
                  <a:schemeClr val="tx1"/>
                </a:solidFill>
              </a:defRPr>
            </a:lvl5pPr>
            <a:lvl6pPr>
              <a:defRPr sz="675">
                <a:solidFill>
                  <a:schemeClr val="tx1"/>
                </a:solidFill>
              </a:defRPr>
            </a:lvl6pPr>
            <a:lvl7pPr>
              <a:defRPr sz="675">
                <a:solidFill>
                  <a:schemeClr val="tx1"/>
                </a:solidFill>
              </a:defRPr>
            </a:lvl7pPr>
            <a:lvl8pPr>
              <a:defRPr sz="675">
                <a:solidFill>
                  <a:schemeClr val="tx1"/>
                </a:solidFill>
              </a:defRPr>
            </a:lvl8pPr>
            <a:lvl9pPr>
              <a:defRPr sz="6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80367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1342800"/>
            <a:ext cx="10668000" cy="43956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6" y="5835600"/>
            <a:ext cx="7978607" cy="442800"/>
          </a:xfrm>
        </p:spPr>
        <p:txBody>
          <a:bodyPr anchor="b"/>
          <a:lstStyle>
            <a:lvl1pPr>
              <a:defRPr sz="675" baseline="0">
                <a:solidFill>
                  <a:schemeClr val="tx1"/>
                </a:solidFill>
              </a:defRPr>
            </a:lvl1pPr>
            <a:lvl2pPr>
              <a:defRPr sz="675">
                <a:solidFill>
                  <a:schemeClr val="tx1"/>
                </a:solidFill>
              </a:defRPr>
            </a:lvl2pPr>
            <a:lvl3pPr>
              <a:defRPr sz="675">
                <a:solidFill>
                  <a:schemeClr val="tx1"/>
                </a:solidFill>
              </a:defRPr>
            </a:lvl3pPr>
            <a:lvl4pPr>
              <a:defRPr sz="675">
                <a:solidFill>
                  <a:schemeClr val="tx1"/>
                </a:solidFill>
              </a:defRPr>
            </a:lvl4pPr>
            <a:lvl5pPr>
              <a:defRPr sz="675">
                <a:solidFill>
                  <a:schemeClr val="tx1"/>
                </a:solidFill>
              </a:defRPr>
            </a:lvl5pPr>
            <a:lvl6pPr>
              <a:defRPr sz="675">
                <a:solidFill>
                  <a:schemeClr val="tx1"/>
                </a:solidFill>
              </a:defRPr>
            </a:lvl6pPr>
            <a:lvl7pPr>
              <a:defRPr sz="675">
                <a:solidFill>
                  <a:schemeClr val="tx1"/>
                </a:solidFill>
              </a:defRPr>
            </a:lvl7pPr>
            <a:lvl8pPr>
              <a:defRPr sz="675">
                <a:solidFill>
                  <a:schemeClr val="tx1"/>
                </a:solidFill>
              </a:defRPr>
            </a:lvl8pPr>
            <a:lvl9pPr>
              <a:defRPr sz="6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61339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28800" y="131687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21208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2800"/>
            <a:ext cx="4953600" cy="4392000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6" y="5835600"/>
            <a:ext cx="7978607" cy="442800"/>
          </a:xfrm>
        </p:spPr>
        <p:txBody>
          <a:bodyPr anchor="b"/>
          <a:lstStyle>
            <a:lvl1pPr>
              <a:defRPr sz="675" baseline="0">
                <a:solidFill>
                  <a:schemeClr val="tx1"/>
                </a:solidFill>
              </a:defRPr>
            </a:lvl1pPr>
            <a:lvl2pPr>
              <a:defRPr sz="675">
                <a:solidFill>
                  <a:schemeClr val="tx1"/>
                </a:solidFill>
              </a:defRPr>
            </a:lvl2pPr>
            <a:lvl3pPr>
              <a:defRPr sz="675">
                <a:solidFill>
                  <a:schemeClr val="tx1"/>
                </a:solidFill>
              </a:defRPr>
            </a:lvl3pPr>
            <a:lvl4pPr>
              <a:defRPr sz="675">
                <a:solidFill>
                  <a:schemeClr val="tx1"/>
                </a:solidFill>
              </a:defRPr>
            </a:lvl4pPr>
            <a:lvl5pPr>
              <a:defRPr sz="675">
                <a:solidFill>
                  <a:schemeClr val="tx1"/>
                </a:solidFill>
              </a:defRPr>
            </a:lvl5pPr>
            <a:lvl6pPr>
              <a:defRPr sz="675">
                <a:solidFill>
                  <a:schemeClr val="tx1"/>
                </a:solidFill>
              </a:defRPr>
            </a:lvl6pPr>
            <a:lvl7pPr>
              <a:defRPr sz="675">
                <a:solidFill>
                  <a:schemeClr val="tx1"/>
                </a:solidFill>
              </a:defRPr>
            </a:lvl7pPr>
            <a:lvl8pPr>
              <a:defRPr sz="675">
                <a:solidFill>
                  <a:schemeClr val="tx1"/>
                </a:solidFill>
              </a:defRPr>
            </a:lvl8pPr>
            <a:lvl9pPr>
              <a:defRPr sz="6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23432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6" y="5835600"/>
            <a:ext cx="7978607" cy="442800"/>
          </a:xfrm>
        </p:spPr>
        <p:txBody>
          <a:bodyPr anchor="b"/>
          <a:lstStyle>
            <a:lvl1pPr>
              <a:defRPr sz="675" baseline="0">
                <a:solidFill>
                  <a:schemeClr val="tx1"/>
                </a:solidFill>
              </a:defRPr>
            </a:lvl1pPr>
            <a:lvl2pPr>
              <a:defRPr sz="675">
                <a:solidFill>
                  <a:schemeClr val="tx1"/>
                </a:solidFill>
              </a:defRPr>
            </a:lvl2pPr>
            <a:lvl3pPr>
              <a:defRPr sz="675">
                <a:solidFill>
                  <a:schemeClr val="tx1"/>
                </a:solidFill>
              </a:defRPr>
            </a:lvl3pPr>
            <a:lvl4pPr>
              <a:defRPr sz="675">
                <a:solidFill>
                  <a:schemeClr val="tx1"/>
                </a:solidFill>
              </a:defRPr>
            </a:lvl4pPr>
            <a:lvl5pPr>
              <a:defRPr sz="675">
                <a:solidFill>
                  <a:schemeClr val="tx1"/>
                </a:solidFill>
              </a:defRPr>
            </a:lvl5pPr>
            <a:lvl6pPr>
              <a:defRPr sz="675">
                <a:solidFill>
                  <a:schemeClr val="tx1"/>
                </a:solidFill>
              </a:defRPr>
            </a:lvl6pPr>
            <a:lvl7pPr>
              <a:defRPr sz="675">
                <a:solidFill>
                  <a:schemeClr val="tx1"/>
                </a:solidFill>
              </a:defRPr>
            </a:lvl7pPr>
            <a:lvl8pPr>
              <a:defRPr sz="675">
                <a:solidFill>
                  <a:schemeClr val="tx1"/>
                </a:solidFill>
              </a:defRPr>
            </a:lvl8pPr>
            <a:lvl9pPr>
              <a:defRPr sz="6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9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7373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15829" y="3621791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47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6" y="5835600"/>
            <a:ext cx="7978607" cy="442800"/>
          </a:xfrm>
        </p:spPr>
        <p:txBody>
          <a:bodyPr anchor="b"/>
          <a:lstStyle>
            <a:lvl1pPr>
              <a:defRPr sz="675" baseline="0">
                <a:solidFill>
                  <a:schemeClr val="tx1"/>
                </a:solidFill>
              </a:defRPr>
            </a:lvl1pPr>
            <a:lvl2pPr>
              <a:defRPr sz="675">
                <a:solidFill>
                  <a:schemeClr val="tx1"/>
                </a:solidFill>
              </a:defRPr>
            </a:lvl2pPr>
            <a:lvl3pPr>
              <a:defRPr sz="675">
                <a:solidFill>
                  <a:schemeClr val="tx1"/>
                </a:solidFill>
              </a:defRPr>
            </a:lvl3pPr>
            <a:lvl4pPr>
              <a:defRPr sz="675">
                <a:solidFill>
                  <a:schemeClr val="tx1"/>
                </a:solidFill>
              </a:defRPr>
            </a:lvl4pPr>
            <a:lvl5pPr>
              <a:defRPr sz="675">
                <a:solidFill>
                  <a:schemeClr val="tx1"/>
                </a:solidFill>
              </a:defRPr>
            </a:lvl5pPr>
            <a:lvl6pPr>
              <a:defRPr sz="675">
                <a:solidFill>
                  <a:schemeClr val="tx1"/>
                </a:solidFill>
              </a:defRPr>
            </a:lvl6pPr>
            <a:lvl7pPr>
              <a:defRPr sz="675">
                <a:solidFill>
                  <a:schemeClr val="tx1"/>
                </a:solidFill>
              </a:defRPr>
            </a:lvl7pPr>
            <a:lvl8pPr>
              <a:defRPr sz="675">
                <a:solidFill>
                  <a:schemeClr val="tx1"/>
                </a:solidFill>
              </a:defRPr>
            </a:lvl8pPr>
            <a:lvl9pPr>
              <a:defRPr sz="6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47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1" hasCustomPrompt="1"/>
          </p:nvPr>
        </p:nvSpPr>
        <p:spPr>
          <a:xfrm>
            <a:off x="873600" y="3621791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17" name="Date Placeholder 15"/>
          <p:cNvSpPr>
            <a:spLocks noGrp="1"/>
          </p:cNvSpPr>
          <p:nvPr>
            <p:ph type="dt" sz="half" idx="23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4370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2800"/>
            <a:ext cx="10665600" cy="15318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3068960"/>
            <a:ext cx="10668000" cy="2666678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72889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6288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6" y="5835600"/>
            <a:ext cx="7978607" cy="442800"/>
          </a:xfrm>
        </p:spPr>
        <p:txBody>
          <a:bodyPr anchor="b"/>
          <a:lstStyle>
            <a:lvl1pPr>
              <a:defRPr sz="675" baseline="0">
                <a:solidFill>
                  <a:schemeClr val="tx1"/>
                </a:solidFill>
              </a:defRPr>
            </a:lvl1pPr>
            <a:lvl2pPr>
              <a:defRPr sz="675">
                <a:solidFill>
                  <a:schemeClr val="tx1"/>
                </a:solidFill>
              </a:defRPr>
            </a:lvl2pPr>
            <a:lvl3pPr>
              <a:defRPr sz="675">
                <a:solidFill>
                  <a:schemeClr val="tx1"/>
                </a:solidFill>
              </a:defRPr>
            </a:lvl3pPr>
            <a:lvl4pPr>
              <a:defRPr sz="675">
                <a:solidFill>
                  <a:schemeClr val="tx1"/>
                </a:solidFill>
              </a:defRPr>
            </a:lvl4pPr>
            <a:lvl5pPr>
              <a:defRPr sz="675">
                <a:solidFill>
                  <a:schemeClr val="tx1"/>
                </a:solidFill>
              </a:defRPr>
            </a:lvl5pPr>
            <a:lvl6pPr>
              <a:defRPr sz="675">
                <a:solidFill>
                  <a:schemeClr val="tx1"/>
                </a:solidFill>
              </a:defRPr>
            </a:lvl6pPr>
            <a:lvl7pPr>
              <a:defRPr sz="675">
                <a:solidFill>
                  <a:schemeClr val="tx1"/>
                </a:solidFill>
              </a:defRPr>
            </a:lvl7pPr>
            <a:lvl8pPr>
              <a:defRPr sz="675">
                <a:solidFill>
                  <a:schemeClr val="tx1"/>
                </a:solidFill>
              </a:defRPr>
            </a:lvl8pPr>
            <a:lvl9pPr>
              <a:defRPr sz="6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60472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with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6" y="5835600"/>
            <a:ext cx="7978607" cy="442800"/>
          </a:xfrm>
        </p:spPr>
        <p:txBody>
          <a:bodyPr anchor="b"/>
          <a:lstStyle>
            <a:lvl1pPr>
              <a:defRPr sz="675" baseline="0">
                <a:solidFill>
                  <a:schemeClr val="tx1"/>
                </a:solidFill>
              </a:defRPr>
            </a:lvl1pPr>
            <a:lvl2pPr>
              <a:defRPr sz="675">
                <a:solidFill>
                  <a:schemeClr val="tx1"/>
                </a:solidFill>
              </a:defRPr>
            </a:lvl2pPr>
            <a:lvl3pPr>
              <a:defRPr sz="675">
                <a:solidFill>
                  <a:schemeClr val="tx1"/>
                </a:solidFill>
              </a:defRPr>
            </a:lvl3pPr>
            <a:lvl4pPr>
              <a:defRPr sz="675">
                <a:solidFill>
                  <a:schemeClr val="tx1"/>
                </a:solidFill>
              </a:defRPr>
            </a:lvl4pPr>
            <a:lvl5pPr>
              <a:defRPr sz="675">
                <a:solidFill>
                  <a:schemeClr val="tx1"/>
                </a:solidFill>
              </a:defRPr>
            </a:lvl5pPr>
            <a:lvl6pPr>
              <a:defRPr sz="675">
                <a:solidFill>
                  <a:schemeClr val="tx1"/>
                </a:solidFill>
              </a:defRPr>
            </a:lvl6pPr>
            <a:lvl7pPr>
              <a:defRPr sz="675">
                <a:solidFill>
                  <a:schemeClr val="tx1"/>
                </a:solidFill>
              </a:defRPr>
            </a:lvl7pPr>
            <a:lvl8pPr>
              <a:defRPr sz="675">
                <a:solidFill>
                  <a:schemeClr val="tx1"/>
                </a:solidFill>
              </a:defRPr>
            </a:lvl8pPr>
            <a:lvl9pPr>
              <a:defRPr sz="6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3" y="1342800"/>
            <a:ext cx="106673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22616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441" y="4"/>
            <a:ext cx="12191129" cy="6857999"/>
          </a:xfrm>
          <a:prstGeom prst="rect">
            <a:avLst/>
          </a:prstGeom>
          <a:solidFill>
            <a:srgbClr val="C6DF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6" y="5835600"/>
            <a:ext cx="7978607" cy="442800"/>
          </a:xfrm>
        </p:spPr>
        <p:txBody>
          <a:bodyPr anchor="b"/>
          <a:lstStyle>
            <a:lvl1pPr>
              <a:defRPr sz="675" baseline="0">
                <a:solidFill>
                  <a:schemeClr val="tx1"/>
                </a:solidFill>
              </a:defRPr>
            </a:lvl1pPr>
            <a:lvl2pPr>
              <a:defRPr sz="675">
                <a:solidFill>
                  <a:schemeClr val="tx1"/>
                </a:solidFill>
              </a:defRPr>
            </a:lvl2pPr>
            <a:lvl3pPr>
              <a:defRPr sz="675">
                <a:solidFill>
                  <a:schemeClr val="tx1"/>
                </a:solidFill>
              </a:defRPr>
            </a:lvl3pPr>
            <a:lvl4pPr>
              <a:defRPr sz="675">
                <a:solidFill>
                  <a:schemeClr val="tx1"/>
                </a:solidFill>
              </a:defRPr>
            </a:lvl4pPr>
            <a:lvl5pPr>
              <a:defRPr sz="675">
                <a:solidFill>
                  <a:schemeClr val="tx1"/>
                </a:solidFill>
              </a:defRPr>
            </a:lvl5pPr>
            <a:lvl6pPr>
              <a:defRPr sz="675">
                <a:solidFill>
                  <a:schemeClr val="tx1"/>
                </a:solidFill>
              </a:defRPr>
            </a:lvl6pPr>
            <a:lvl7pPr>
              <a:defRPr sz="675">
                <a:solidFill>
                  <a:schemeClr val="tx1"/>
                </a:solidFill>
              </a:defRPr>
            </a:lvl7pPr>
            <a:lvl8pPr>
              <a:defRPr sz="675">
                <a:solidFill>
                  <a:schemeClr val="tx1"/>
                </a:solidFill>
              </a:defRPr>
            </a:lvl8pPr>
            <a:lvl9pPr>
              <a:defRPr sz="6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ctr">
              <a:defRPr/>
            </a:lvl1pPr>
          </a:lstStyle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98059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441288" y="36000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3000" b="1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440800" y="4478400"/>
            <a:ext cx="7310400" cy="995536"/>
          </a:xfrm>
        </p:spPr>
        <p:txBody>
          <a:bodyPr/>
          <a:lstStyle>
            <a:lvl1pPr marL="0" indent="0" algn="ctr">
              <a:buNone/>
              <a:defRPr sz="900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900">
                <a:solidFill>
                  <a:schemeClr val="tx2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5738035" y="3285778"/>
            <a:ext cx="715943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542121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69" y="-22288"/>
            <a:ext cx="12240000" cy="6885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441288" y="36000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30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440800" y="4478400"/>
            <a:ext cx="7310400" cy="995536"/>
          </a:xfrm>
        </p:spPr>
        <p:txBody>
          <a:bodyPr/>
          <a:lstStyle>
            <a:lvl1pPr marL="0" indent="0" algn="ctr">
              <a:buNone/>
              <a:defRPr sz="90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900">
                <a:solidFill>
                  <a:schemeClr val="tx2"/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218" y="5471895"/>
            <a:ext cx="6322780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17895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5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75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47024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641612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350761" y="345080"/>
            <a:ext cx="6993467" cy="1212791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342900" algn="l"/>
              </a:tabLst>
              <a:defRPr lang="en-US" sz="195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7697" y="1727199"/>
            <a:ext cx="11468707" cy="338668"/>
          </a:xfrm>
        </p:spPr>
        <p:txBody>
          <a:bodyPr/>
          <a:lstStyle>
            <a:lvl1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05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67697" y="2232779"/>
            <a:ext cx="11468707" cy="4113468"/>
          </a:xfrm>
        </p:spPr>
        <p:txBody>
          <a:bodyPr/>
          <a:lstStyle>
            <a:lvl1pPr marL="128588" indent="-128588" algn="l" defTabSz="13716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lang="en-US" sz="75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/>
              <a:t>Description text in Dark Grey and 24pt size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67701" y="84676"/>
            <a:ext cx="1335617" cy="165059"/>
          </a:xfrm>
        </p:spPr>
        <p:txBody>
          <a:bodyPr wrap="none" tIns="0" bIns="0" anchor="ctr" anchorCtr="0"/>
          <a:lstStyle>
            <a:lvl1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6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1" name="Rectangle 30">
            <a:extLst/>
          </p:cNvPr>
          <p:cNvSpPr/>
          <p:nvPr userDrawn="1"/>
        </p:nvSpPr>
        <p:spPr>
          <a:xfrm>
            <a:off x="11871327" y="6633417"/>
            <a:ext cx="304800" cy="1905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Lige forbindelse 8">
            <a:extLst/>
          </p:cNvPr>
          <p:cNvCxnSpPr>
            <a:cxnSpLocks/>
          </p:cNvCxnSpPr>
          <p:nvPr userDrawn="1"/>
        </p:nvCxnSpPr>
        <p:spPr>
          <a:xfrm>
            <a:off x="10533004" y="6566163"/>
            <a:ext cx="1662197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4">
            <a:extLst/>
          </p:cNvPr>
          <p:cNvSpPr txBox="1">
            <a:spLocks/>
          </p:cNvSpPr>
          <p:nvPr userDrawn="1"/>
        </p:nvSpPr>
        <p:spPr>
          <a:xfrm>
            <a:off x="10533001" y="6634240"/>
            <a:ext cx="110832" cy="148963"/>
          </a:xfrm>
          <a:prstGeom prst="rect">
            <a:avLst/>
          </a:prstGeom>
          <a:noFill/>
        </p:spPr>
        <p:txBody>
          <a:bodyPr vert="horz" lIns="0" tIns="34290" rIns="0" bIns="3429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525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0" name="Freeform 5">
            <a:extLst/>
          </p:cNvPr>
          <p:cNvSpPr>
            <a:spLocks noEditPoints="1"/>
          </p:cNvSpPr>
          <p:nvPr userDrawn="1"/>
        </p:nvSpPr>
        <p:spPr bwMode="auto">
          <a:xfrm>
            <a:off x="10669370" y="6637415"/>
            <a:ext cx="376775" cy="145943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500" dirty="0"/>
          </a:p>
        </p:txBody>
      </p:sp>
      <p:sp>
        <p:nvSpPr>
          <p:cNvPr id="41" name="TextBox 40">
            <a:extLst/>
          </p:cNvPr>
          <p:cNvSpPr txBox="1"/>
          <p:nvPr userDrawn="1"/>
        </p:nvSpPr>
        <p:spPr>
          <a:xfrm>
            <a:off x="11019563" y="6578034"/>
            <a:ext cx="818116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5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2" name="Shape 257"/>
          <p:cNvSpPr txBox="1">
            <a:spLocks/>
          </p:cNvSpPr>
          <p:nvPr userDrawn="1"/>
        </p:nvSpPr>
        <p:spPr>
          <a:xfrm>
            <a:off x="11826625" y="6574323"/>
            <a:ext cx="346283" cy="259900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34290" rIns="0" bIns="3429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sz="450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sz="450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157656" y="6459486"/>
            <a:ext cx="671717" cy="126295"/>
            <a:chOff x="6014087" y="4646472"/>
            <a:chExt cx="503788" cy="94721"/>
          </a:xfrm>
        </p:grpSpPr>
        <p:sp>
          <p:nvSpPr>
            <p:cNvPr id="26" name="Oval 25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sz="1500" dirty="0"/>
                <a:t> </a:t>
              </a:r>
            </a:p>
          </p:txBody>
        </p:sp>
        <p:sp>
          <p:nvSpPr>
            <p:cNvPr id="27" name="Oval 26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  <p:sp>
          <p:nvSpPr>
            <p:cNvPr id="28" name="Oval 27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  <p:sp>
          <p:nvSpPr>
            <p:cNvPr id="29" name="Oval 28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  <p:sp>
          <p:nvSpPr>
            <p:cNvPr id="30" name="Oval 29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23471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24" userDrawn="1">
          <p15:clr>
            <a:srgbClr val="FBAE40"/>
          </p15:clr>
        </p15:guide>
        <p15:guide id="3" pos="7456" userDrawn="1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1393" y="495853"/>
            <a:ext cx="9990849" cy="535913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>
            <a:lvl1pPr marL="0" indent="0" algn="l" rtl="0" fontAlgn="base" hangingPunct="0">
              <a:lnSpc>
                <a:spcPts val="1969"/>
              </a:lnSpc>
              <a:spcBef>
                <a:spcPct val="0"/>
              </a:spcBef>
              <a:spcAft>
                <a:spcPct val="0"/>
              </a:spcAft>
              <a:buNone/>
              <a:defRPr lang="en-US" sz="2025" kern="1200" dirty="0">
                <a:solidFill>
                  <a:srgbClr val="3F403E"/>
                </a:solidFill>
                <a:latin typeface="Avenir Next Medium" charset="0"/>
                <a:ea typeface="+mn-ea"/>
                <a:cs typeface="Times New Roman" panose="02020603050405020304" pitchFamily="18" charset="0"/>
                <a:sym typeface="Times New Roman" panose="02020603050405020304" pitchFamily="18" charset="0"/>
              </a:defRPr>
            </a:lvl1pPr>
            <a:lvl2pPr>
              <a:defRPr lang="en-US" sz="1013" dirty="0" smtClean="0"/>
            </a:lvl2pPr>
            <a:lvl3pPr>
              <a:defRPr lang="en-US" sz="1013" dirty="0" smtClean="0"/>
            </a:lvl3pPr>
            <a:lvl4pPr>
              <a:defRPr lang="en-US" sz="1013" dirty="0" smtClean="0"/>
            </a:lvl4pPr>
            <a:lvl5pPr>
              <a:defRPr lang="en-US" sz="1013" dirty="0"/>
            </a:lvl5pPr>
          </a:lstStyle>
          <a:p>
            <a:pPr marL="0" lvl="0" eaLnBrk="0" hangingPunct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51393" y="1063648"/>
            <a:ext cx="9990849" cy="138499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 rtl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GB" sz="900" kern="1200" spc="56" dirty="0">
                <a:solidFill>
                  <a:srgbClr val="3F403E"/>
                </a:solidFill>
                <a:latin typeface="Avenir Next Regular" charset="0"/>
                <a:ea typeface="+mn-ea"/>
                <a:cs typeface="Times New Roman" panose="02020603050405020304" pitchFamily="18" charset="0"/>
                <a:sym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4981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1342800"/>
            <a:ext cx="10668000" cy="43956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975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28800" y="131687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4010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" y="3889829"/>
            <a:ext cx="12191129" cy="2968170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7184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2800"/>
            <a:ext cx="4953600" cy="4392000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0272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9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8426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15829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1" hasCustomPrompt="1"/>
          </p:nvPr>
        </p:nvSpPr>
        <p:spPr>
          <a:xfrm>
            <a:off x="873600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17" name="Date Placeholder 15"/>
          <p:cNvSpPr>
            <a:spLocks noGrp="1"/>
          </p:cNvSpPr>
          <p:nvPr>
            <p:ph type="dt" sz="half" idx="23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9787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6288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8436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with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3" y="1342800"/>
            <a:ext cx="106673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1948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440" y="4"/>
            <a:ext cx="12191129" cy="6857999"/>
          </a:xfrm>
          <a:prstGeom prst="rect">
            <a:avLst/>
          </a:prstGeom>
          <a:solidFill>
            <a:srgbClr val="C6DF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ctr">
              <a:defRPr/>
            </a:lvl1pPr>
          </a:lstStyle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8939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441288" y="36000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440800" y="4478400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38034" y="3285778"/>
            <a:ext cx="715943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AA5E486D-6C25-48AF-88CD-E68483FB4C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825" y="5486634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1017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69" y="-22288"/>
            <a:ext cx="12240000" cy="6885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441288" y="36000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440800" y="4478400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8CB800-F4A5-4782-8EA2-82AAA04272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573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0907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624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827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603" y="288000"/>
            <a:ext cx="10667300" cy="30750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7980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ctr">
              <a:defRPr/>
            </a:lvl1pPr>
          </a:lstStyle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</p:spTree>
    <p:extLst>
      <p:ext uri="{BB962C8B-B14F-4D97-AF65-F5344CB8AC3E}">
        <p14:creationId xmlns:p14="http://schemas.microsoft.com/office/powerpoint/2010/main" val="4944159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74" t="-243" r="81"/>
          <a:stretch/>
        </p:blipFill>
        <p:spPr>
          <a:xfrm>
            <a:off x="3" y="-99753"/>
            <a:ext cx="12203084" cy="6957753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>
            <a:off x="10371517" y="4092911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655840" y="2906706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22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655588" y="4458306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bg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548393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D3A66A6-DB7C-4483-A951-7B6E2AF919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825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4262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58" t="-122" r="8445"/>
          <a:stretch/>
        </p:blipFill>
        <p:spPr>
          <a:xfrm>
            <a:off x="-33865" y="-8313"/>
            <a:ext cx="12248033" cy="6866313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22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5148AC-507F-42A2-B1AD-BB25D5FC76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573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9017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28" r="7222"/>
          <a:stretch/>
        </p:blipFill>
        <p:spPr>
          <a:xfrm>
            <a:off x="5" y="0"/>
            <a:ext cx="12214167" cy="6858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22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bg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21CE51-2DAB-45FC-AB16-B26AC8DDA6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573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0937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75" r="5073"/>
          <a:stretch/>
        </p:blipFill>
        <p:spPr>
          <a:xfrm>
            <a:off x="-11084" y="-24535"/>
            <a:ext cx="12203085" cy="6882535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22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bg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0790344-EF39-45CB-AE80-2A82E1FF4D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829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2517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 userDrawn="1"/>
        </p:nvSpPr>
        <p:spPr>
          <a:xfrm>
            <a:off x="872224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6096000" y="2952000"/>
            <a:ext cx="481315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5669" y="4078800"/>
            <a:ext cx="4812879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3605" y="6426007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95996" y="4294807"/>
            <a:ext cx="4813989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23393" y="1520825"/>
            <a:ext cx="5088467" cy="381635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2304025" y="2779716"/>
            <a:ext cx="1727200" cy="129857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0"/>
            <a:ext cx="6439179" cy="140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4053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2" y="4078800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294807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0"/>
            <a:ext cx="6439179" cy="1407080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4" y="6426712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0181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rinter Friend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 i="0">
                <a:solidFill>
                  <a:schemeClr val="accent4"/>
                </a:solidFill>
                <a:latin typeface="+mj-lt"/>
                <a:ea typeface="Proxima Nova Semibold" charset="0"/>
                <a:cs typeface="Proxima Nova Semibold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6005" y="4078800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294807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4" y="6426712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7"/>
            <a:ext cx="6439179" cy="14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2884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rinter Friendly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E8EFF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 i="0">
                <a:solidFill>
                  <a:schemeClr val="accent4"/>
                </a:solidFill>
                <a:latin typeface="+mj-lt"/>
                <a:ea typeface="Proxima Nova Semibold" charset="0"/>
                <a:cs typeface="Proxima Nova Semibold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2" y="4078800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294807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3605" y="6426007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7"/>
            <a:ext cx="6439179" cy="14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854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7072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2" y="4258807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473201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3" name="Teardrop 12"/>
          <p:cNvSpPr/>
          <p:nvPr userDrawn="1"/>
        </p:nvSpPr>
        <p:spPr>
          <a:xfrm rot="5400000">
            <a:off x="9743156" y="1363917"/>
            <a:ext cx="972000" cy="1296000"/>
          </a:xfrm>
          <a:prstGeom prst="teardrop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44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700" b="1" dirty="0">
              <a:solidFill>
                <a:srgbClr val="FFFFFF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534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9" y="1182021"/>
            <a:ext cx="10977033" cy="39654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07489" y="1578569"/>
            <a:ext cx="10977033" cy="491430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0853811" y="6575425"/>
            <a:ext cx="730711" cy="1285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747000" y="6541294"/>
            <a:ext cx="1905000" cy="196850"/>
          </a:xfrm>
        </p:spPr>
        <p:txBody>
          <a:bodyPr/>
          <a:lstStyle>
            <a:lvl1pPr marL="0" indent="0" algn="ctr">
              <a:buNone/>
              <a:defRPr lang="en-AU" sz="900" kern="1200" dirty="0">
                <a:solidFill>
                  <a:schemeClr val="tx2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/>
              <a:t>28th April 2015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68579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6" name="Text Box 10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75849" y="6627813"/>
            <a:ext cx="3937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-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30000"/>
              </a:spcAft>
              <a:buClrTx/>
            </a:pPr>
            <a:r>
              <a:rPr lang="en-AU" altLang="en-US" sz="1000" b="1" dirty="0">
                <a:solidFill>
                  <a:srgbClr val="FF33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814989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2492896"/>
            <a:ext cx="10665600" cy="324274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73603" y="1342800"/>
            <a:ext cx="10665884" cy="962732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AU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7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 numCol="2" spcCol="360000"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4770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2800"/>
            <a:ext cx="10665600" cy="15318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3068960"/>
            <a:ext cx="10668000" cy="2666678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040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1342800"/>
            <a:ext cx="10668000" cy="43956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7101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28800" y="131687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7711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2800"/>
            <a:ext cx="4953600" cy="4392000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0294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9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437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15829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1" hasCustomPrompt="1"/>
          </p:nvPr>
        </p:nvSpPr>
        <p:spPr>
          <a:xfrm>
            <a:off x="873600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17" name="Date Placeholder 15"/>
          <p:cNvSpPr>
            <a:spLocks noGrp="1"/>
          </p:cNvSpPr>
          <p:nvPr>
            <p:ph type="dt" sz="half" idx="23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5054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6288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63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9" y="1182021"/>
            <a:ext cx="10977033" cy="39654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07489" y="1578569"/>
            <a:ext cx="10977033" cy="491430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6633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with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3" y="1342800"/>
            <a:ext cx="106673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3848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440" y="4"/>
            <a:ext cx="12191129" cy="6857999"/>
          </a:xfrm>
          <a:prstGeom prst="rect">
            <a:avLst/>
          </a:prstGeom>
          <a:solidFill>
            <a:srgbClr val="C6DF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ctr">
              <a:defRPr/>
            </a:lvl1pPr>
          </a:lstStyle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7847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441288" y="36000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440800" y="4478400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5738034" y="3285778"/>
            <a:ext cx="715943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91269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69" y="-22288"/>
            <a:ext cx="12240000" cy="6885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441288" y="36000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440800" y="4478400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5B4122-CB72-4A95-9258-D49296D775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573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6724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6037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93825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350761" y="345080"/>
            <a:ext cx="6993467" cy="1212791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7697" y="1727199"/>
            <a:ext cx="11468707" cy="338668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67697" y="2232779"/>
            <a:ext cx="11468707" cy="4113468"/>
          </a:xfrm>
        </p:spPr>
        <p:txBody>
          <a:bodyPr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/>
              <a:t>Description text in Dark Grey and 24pt size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67700" y="84674"/>
            <a:ext cx="1335617" cy="165059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1" name="Rectangle 30">
            <a:extLst/>
          </p:cNvPr>
          <p:cNvSpPr/>
          <p:nvPr userDrawn="1"/>
        </p:nvSpPr>
        <p:spPr>
          <a:xfrm>
            <a:off x="11871327" y="6633417"/>
            <a:ext cx="304800" cy="1905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Lige forbindelse 8">
            <a:extLst/>
          </p:cNvPr>
          <p:cNvCxnSpPr>
            <a:cxnSpLocks/>
          </p:cNvCxnSpPr>
          <p:nvPr userDrawn="1"/>
        </p:nvCxnSpPr>
        <p:spPr>
          <a:xfrm>
            <a:off x="10533004" y="6566163"/>
            <a:ext cx="1662197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4">
            <a:extLst/>
          </p:cNvPr>
          <p:cNvSpPr txBox="1">
            <a:spLocks/>
          </p:cNvSpPr>
          <p:nvPr userDrawn="1"/>
        </p:nvSpPr>
        <p:spPr>
          <a:xfrm>
            <a:off x="10533001" y="6634238"/>
            <a:ext cx="110832" cy="148963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0" name="Freeform 5">
            <a:extLst/>
          </p:cNvPr>
          <p:cNvSpPr>
            <a:spLocks noEditPoints="1"/>
          </p:cNvSpPr>
          <p:nvPr userDrawn="1"/>
        </p:nvSpPr>
        <p:spPr bwMode="auto">
          <a:xfrm>
            <a:off x="10669369" y="6637413"/>
            <a:ext cx="376775" cy="145943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 dirty="0"/>
          </a:p>
        </p:txBody>
      </p:sp>
      <p:sp>
        <p:nvSpPr>
          <p:cNvPr id="41" name="TextBox 40">
            <a:extLst/>
          </p:cNvPr>
          <p:cNvSpPr txBox="1"/>
          <p:nvPr userDrawn="1"/>
        </p:nvSpPr>
        <p:spPr>
          <a:xfrm>
            <a:off x="11019563" y="6578026"/>
            <a:ext cx="81811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2" name="Shape 257"/>
          <p:cNvSpPr txBox="1">
            <a:spLocks/>
          </p:cNvSpPr>
          <p:nvPr userDrawn="1"/>
        </p:nvSpPr>
        <p:spPr>
          <a:xfrm>
            <a:off x="11826625" y="6574323"/>
            <a:ext cx="346283" cy="259900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sz="600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sz="600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157656" y="6459484"/>
            <a:ext cx="671717" cy="126295"/>
            <a:chOff x="6014087" y="4646472"/>
            <a:chExt cx="503788" cy="94721"/>
          </a:xfrm>
        </p:grpSpPr>
        <p:sp>
          <p:nvSpPr>
            <p:cNvPr id="26" name="Oval 25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sz="2000" dirty="0"/>
                <a:t> </a:t>
              </a:r>
            </a:p>
          </p:txBody>
        </p:sp>
        <p:sp>
          <p:nvSpPr>
            <p:cNvPr id="27" name="Oval 26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8" name="Oval 27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9" name="Oval 28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30" name="Oval 29">
              <a:extLst/>
            </p:cNvPr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727683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24" userDrawn="1">
          <p15:clr>
            <a:srgbClr val="FBAE40"/>
          </p15:clr>
        </p15:guide>
        <p15:guide id="3" pos="7456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51392" y="495851"/>
            <a:ext cx="9990849" cy="535913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>
            <a:lvl1pPr marL="0" indent="0" algn="l" rtl="0" fontAlgn="base" hangingPunct="0">
              <a:lnSpc>
                <a:spcPts val="2625"/>
              </a:lnSpc>
              <a:spcBef>
                <a:spcPct val="0"/>
              </a:spcBef>
              <a:spcAft>
                <a:spcPct val="0"/>
              </a:spcAft>
              <a:buNone/>
              <a:defRPr lang="en-US" sz="2700" kern="1200" dirty="0">
                <a:solidFill>
                  <a:srgbClr val="3F403E"/>
                </a:solidFill>
                <a:latin typeface="Avenir Next Medium" charset="0"/>
                <a:ea typeface="+mn-ea"/>
                <a:cs typeface="Times New Roman" panose="02020603050405020304" pitchFamily="18" charset="0"/>
                <a:sym typeface="Times New Roman" panose="02020603050405020304" pitchFamily="18" charset="0"/>
              </a:defRPr>
            </a:lvl1pPr>
            <a:lvl2pPr>
              <a:defRPr lang="en-US" sz="1350" dirty="0" smtClean="0"/>
            </a:lvl2pPr>
            <a:lvl3pPr>
              <a:defRPr lang="en-US" sz="1350" dirty="0" smtClean="0"/>
            </a:lvl3pPr>
            <a:lvl4pPr>
              <a:defRPr lang="en-US" sz="1350" dirty="0" smtClean="0"/>
            </a:lvl4pPr>
            <a:lvl5pPr>
              <a:defRPr lang="en-US" sz="1350" dirty="0"/>
            </a:lvl5pPr>
          </a:lstStyle>
          <a:p>
            <a:pPr marL="0" lvl="0" eaLnBrk="0" hangingPunct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51392" y="1063641"/>
            <a:ext cx="9990849" cy="18466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 rtl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GB" sz="1200" kern="1200" spc="75" dirty="0">
                <a:solidFill>
                  <a:srgbClr val="3F403E"/>
                </a:solidFill>
                <a:latin typeface="Avenir Next Regular" charset="0"/>
                <a:ea typeface="+mn-ea"/>
                <a:cs typeface="Times New Roman" panose="02020603050405020304" pitchFamily="18" charset="0"/>
                <a:sym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416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5" y="3889830"/>
            <a:ext cx="12191129" cy="2968170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6602673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" y="1431"/>
            <a:ext cx="12191255" cy="68575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22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93"/>
            <a:ext cx="6322780" cy="1396345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3318704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764117" y="195263"/>
            <a:ext cx="10708216" cy="53975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851787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 2_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4128875" cy="6858000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68544" y="6428336"/>
            <a:ext cx="6240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pPr algn="r"/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34618167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 2_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" y="122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4128875" cy="6857998"/>
          </a:xfrm>
          <a:prstGeom prst="rect">
            <a:avLst/>
          </a:prstGeom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68544" y="6428336"/>
            <a:ext cx="6240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algn="r"/>
            <a:endParaRPr lang="en-AU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12966286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Full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40840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27384"/>
            <a:ext cx="12192000" cy="6858000"/>
          </a:xfrm>
        </p:spPr>
        <p:txBody>
          <a:bodyPr bIns="360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Click in the icon to insert picture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874680" y="6428336"/>
            <a:ext cx="7144728" cy="1632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9433927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" y="3889829"/>
            <a:ext cx="12191129" cy="2968170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564474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2" y="122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55840" y="2707200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588" y="4258800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856981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Full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bIns="360000"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Click in the icon to insert picture.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55840" y="3861048"/>
            <a:ext cx="6253312" cy="478768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title</a:t>
            </a:r>
            <a:endParaRPr lang="en-AU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588" y="5124616"/>
            <a:ext cx="6252957" cy="608640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10371517" y="4759221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348887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8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712230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281063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2492896"/>
            <a:ext cx="10665600" cy="324274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73603" y="1342800"/>
            <a:ext cx="10665884" cy="962732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AU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916886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 numCol="2" spcCol="360000"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893422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2800"/>
            <a:ext cx="10665600" cy="15318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3068960"/>
            <a:ext cx="10668000" cy="2666678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0238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599" y="6429600"/>
            <a:ext cx="7978607" cy="162000"/>
          </a:xfr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73601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</p:spTree>
    <p:extLst>
      <p:ext uri="{BB962C8B-B14F-4D97-AF65-F5344CB8AC3E}">
        <p14:creationId xmlns:p14="http://schemas.microsoft.com/office/powerpoint/2010/main" val="20377801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1342800"/>
            <a:ext cx="10668000" cy="43956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34321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28800" y="131687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7918345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2800"/>
            <a:ext cx="4953600" cy="4392000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882836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9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1761395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15829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5" name="Content Placeholder 2"/>
          <p:cNvSpPr>
            <a:spLocks noGrp="1"/>
          </p:cNvSpPr>
          <p:nvPr>
            <p:ph idx="21" hasCustomPrompt="1"/>
          </p:nvPr>
        </p:nvSpPr>
        <p:spPr>
          <a:xfrm>
            <a:off x="873600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17" name="Date Placeholder 15"/>
          <p:cNvSpPr>
            <a:spLocks noGrp="1"/>
          </p:cNvSpPr>
          <p:nvPr>
            <p:ph type="dt" sz="half" idx="23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590708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6288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883038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with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3" y="1342800"/>
            <a:ext cx="106673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195341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441288" y="27072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440800" y="3908390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847005" y="3665699"/>
            <a:ext cx="537027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86"/>
            <a:ext cx="6322780" cy="1396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109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69" y="-22288"/>
            <a:ext cx="12240000" cy="6885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441288" y="2707200"/>
            <a:ext cx="7309429" cy="766800"/>
          </a:xfrm>
        </p:spPr>
        <p:txBody>
          <a:bodyPr anchor="b"/>
          <a:lstStyle>
            <a:lvl1pPr algn="ctr">
              <a:lnSpc>
                <a:spcPct val="90000"/>
              </a:lnSpc>
              <a:defRPr sz="40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hank you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440800" y="3910704"/>
            <a:ext cx="7310400" cy="995536"/>
          </a:xfrm>
        </p:spPr>
        <p:txBody>
          <a:bodyPr/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here to enter nam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847005" y="3665699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6218" y="5471893"/>
            <a:ext cx="6322780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98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085810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74" t="-243" r="81"/>
          <a:stretch/>
        </p:blipFill>
        <p:spPr>
          <a:xfrm>
            <a:off x="3" y="-99753"/>
            <a:ext cx="12203084" cy="6957753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>
            <a:off x="10371517" y="4092911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655840" y="2906706"/>
            <a:ext cx="625331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22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655588" y="4458306"/>
            <a:ext cx="6252957" cy="995536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bg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  <a:p>
            <a:pPr lvl="1"/>
            <a:r>
              <a:rPr lang="en-AU" noProof="0" dirty="0"/>
              <a:t>level two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5472000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55584" y="2548393"/>
            <a:ext cx="6254400" cy="215677"/>
          </a:xfrm>
        </p:spPr>
        <p:txBody>
          <a:bodyPr/>
          <a:lstStyle>
            <a:lvl1pPr algn="r">
              <a:spcBef>
                <a:spcPts val="0"/>
              </a:spcBef>
              <a:defRPr sz="1100" b="1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6B4951-4926-446C-A847-589105C461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826" y="5472744"/>
            <a:ext cx="4739172" cy="139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87675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469595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465321" y="1186297"/>
            <a:ext cx="5520307" cy="52304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03204" y="1186303"/>
            <a:ext cx="5520305" cy="52304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38955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325" y="1164086"/>
            <a:ext cx="11258183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700">
                <a:solidFill>
                  <a:schemeClr val="accent2"/>
                </a:solidFill>
              </a:defRPr>
            </a:lvl1pPr>
            <a:lvl2pPr>
              <a:defRPr sz="2900"/>
            </a:lvl2pPr>
            <a:lvl3pPr>
              <a:defRPr sz="2700"/>
            </a:lvl3pPr>
            <a:lvl4pPr>
              <a:defRPr sz="2400"/>
            </a:lvl4pPr>
            <a:lvl5pPr>
              <a:defRPr sz="2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5325" y="1559995"/>
            <a:ext cx="11258183" cy="48567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915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 userDrawn="1"/>
        </p:nvSpPr>
        <p:spPr>
          <a:xfrm>
            <a:off x="872224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6096000" y="2952000"/>
            <a:ext cx="481315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5669" y="4078800"/>
            <a:ext cx="4812879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3605" y="6426007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95996" y="4294807"/>
            <a:ext cx="4813989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23393" y="1520825"/>
            <a:ext cx="5088467" cy="381635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2304025" y="2779716"/>
            <a:ext cx="1727200" cy="129857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0"/>
            <a:ext cx="6439179" cy="140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1969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2" y="4078800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294807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0"/>
            <a:ext cx="6439179" cy="1407080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4" y="6426712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59903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rinter Friend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 i="0">
                <a:solidFill>
                  <a:schemeClr val="accent4"/>
                </a:solidFill>
                <a:latin typeface="+mj-lt"/>
                <a:ea typeface="Proxima Nova Semibold" charset="0"/>
                <a:cs typeface="Proxima Nova Semibold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6005" y="4078800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294807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4" y="6426712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7"/>
            <a:ext cx="6439179" cy="14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75404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rinter Friendly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E8EFF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9520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 i="0">
                <a:solidFill>
                  <a:schemeClr val="accent4"/>
                </a:solidFill>
                <a:latin typeface="+mj-lt"/>
                <a:ea typeface="Proxima Nova Semibold" charset="0"/>
                <a:cs typeface="Proxima Nova Semibold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2" y="4078800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2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294807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2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3605" y="6426007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821" y="5450927"/>
            <a:ext cx="6439179" cy="14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82639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 userDrawn="1"/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873600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71517" y="3893405"/>
            <a:ext cx="537027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5615948" y="2707200"/>
            <a:ext cx="5293205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15642" y="4258807"/>
            <a:ext cx="5292905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615862" y="4473201"/>
            <a:ext cx="5294127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13" name="Teardrop 12"/>
          <p:cNvSpPr/>
          <p:nvPr userDrawn="1"/>
        </p:nvSpPr>
        <p:spPr>
          <a:xfrm rot="5400000">
            <a:off x="9743156" y="1363917"/>
            <a:ext cx="972000" cy="1296000"/>
          </a:xfrm>
          <a:prstGeom prst="teardrop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44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700" b="1" dirty="0">
              <a:solidFill>
                <a:srgbClr val="FFFFFF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352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12034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2492896"/>
            <a:ext cx="10665600" cy="324274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73603" y="1342800"/>
            <a:ext cx="10665884" cy="962732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AU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401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rgbClr val="D5E2E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 userDrawn="1"/>
        </p:nvSpPr>
        <p:spPr>
          <a:xfrm>
            <a:off x="872224" y="0"/>
            <a:ext cx="11319776" cy="5690648"/>
          </a:xfrm>
          <a:custGeom>
            <a:avLst/>
            <a:gdLst>
              <a:gd name="connsiteX0" fmla="*/ 18121 w 8489832"/>
              <a:gd name="connsiteY0" fmla="*/ 0 h 5690648"/>
              <a:gd name="connsiteX1" fmla="*/ 8489832 w 8489832"/>
              <a:gd name="connsiteY1" fmla="*/ 0 h 5690648"/>
              <a:gd name="connsiteX2" fmla="*/ 8489832 w 8489832"/>
              <a:gd name="connsiteY2" fmla="*/ 4592622 h 5690648"/>
              <a:gd name="connsiteX3" fmla="*/ 8425177 w 8489832"/>
              <a:gd name="connsiteY3" fmla="*/ 4643431 h 5690648"/>
              <a:gd name="connsiteX4" fmla="*/ 5271284 w 8489832"/>
              <a:gd name="connsiteY4" fmla="*/ 5690648 h 5690648"/>
              <a:gd name="connsiteX5" fmla="*/ 0 w 8489832"/>
              <a:gd name="connsiteY5" fmla="*/ 419364 h 5690648"/>
              <a:gd name="connsiteX6" fmla="*/ 6859 w 8489832"/>
              <a:gd name="connsiteY6" fmla="*/ 148105 h 569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9832" h="5690648">
                <a:moveTo>
                  <a:pt x="18121" y="0"/>
                </a:moveTo>
                <a:lnTo>
                  <a:pt x="8489832" y="0"/>
                </a:lnTo>
                <a:lnTo>
                  <a:pt x="8489832" y="4592622"/>
                </a:lnTo>
                <a:lnTo>
                  <a:pt x="8425177" y="4643431"/>
                </a:lnTo>
                <a:cubicBezTo>
                  <a:pt x="7545703" y="5301150"/>
                  <a:pt x="6453980" y="5690648"/>
                  <a:pt x="5271284" y="5690648"/>
                </a:cubicBezTo>
                <a:cubicBezTo>
                  <a:pt x="2360034" y="5690648"/>
                  <a:pt x="0" y="3330614"/>
                  <a:pt x="0" y="419364"/>
                </a:cubicBezTo>
                <a:cubicBezTo>
                  <a:pt x="0" y="328388"/>
                  <a:pt x="2305" y="237949"/>
                  <a:pt x="6859" y="148105"/>
                </a:cubicBezTo>
                <a:close/>
              </a:path>
            </a:pathLst>
          </a:custGeom>
          <a:solidFill>
            <a:srgbClr val="B9C9D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ctrTitle"/>
          </p:nvPr>
        </p:nvSpPr>
        <p:spPr>
          <a:xfrm>
            <a:off x="6096000" y="2952000"/>
            <a:ext cx="4813152" cy="766800"/>
          </a:xfrm>
        </p:spPr>
        <p:txBody>
          <a:bodyPr anchor="b"/>
          <a:lstStyle>
            <a:lvl1pPr algn="r">
              <a:lnSpc>
                <a:spcPct val="90000"/>
              </a:lnSpc>
              <a:defRPr sz="2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5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5669" y="4078800"/>
            <a:ext cx="4812879" cy="159199"/>
          </a:xfrm>
        </p:spPr>
        <p:txBody>
          <a:bodyPr/>
          <a:lstStyle>
            <a:lvl1pPr marL="0" indent="0" algn="r">
              <a:buNone/>
              <a:defRPr sz="1000">
                <a:solidFill>
                  <a:schemeClr val="bg1"/>
                </a:solidFill>
              </a:defRPr>
            </a:lvl1pPr>
            <a:lvl2pPr marL="0" indent="0" algn="r">
              <a:buNone/>
              <a:defRPr sz="1200">
                <a:solidFill>
                  <a:schemeClr val="tx2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noProof="0" dirty="0"/>
              <a:t>Click to edit Master subtitle style level on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3605" y="6426007"/>
            <a:ext cx="4812879" cy="164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0" dirty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endParaRPr dirty="0">
              <a:solidFill>
                <a:srgbClr val="004165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95996" y="4294807"/>
            <a:ext cx="4813989" cy="215677"/>
          </a:xfrm>
        </p:spPr>
        <p:txBody>
          <a:bodyPr/>
          <a:lstStyle>
            <a:lvl1pPr algn="r"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2pPr>
            <a:lvl3pPr marL="216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3pPr>
            <a:lvl4pPr marL="432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4pPr>
            <a:lvl5pPr marL="648000" indent="0" algn="r">
              <a:spcBef>
                <a:spcPts val="0"/>
              </a:spcBef>
              <a:buNone/>
              <a:defRPr sz="11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23393" y="1520825"/>
            <a:ext cx="5088467" cy="381635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2304025" y="2779716"/>
            <a:ext cx="1727200" cy="129857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5867B98-23E8-4102-8C57-A745A88E79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829" y="5471886"/>
            <a:ext cx="4742085" cy="139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8012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1438"/>
            <a:ext cx="10665600" cy="4394200"/>
          </a:xfrm>
        </p:spPr>
        <p:txBody>
          <a:bodyPr numCol="2" spcCol="360000"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74342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3600" y="1342800"/>
            <a:ext cx="10665600" cy="15318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3068960"/>
            <a:ext cx="10668000" cy="2666678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03406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73600" y="1342800"/>
            <a:ext cx="10668000" cy="43956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32312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28800" y="131687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54456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2800"/>
            <a:ext cx="4953600" cy="4392000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873600" y="1342800"/>
            <a:ext cx="4953600" cy="4395600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08868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38"/>
            <a:ext cx="4953600" cy="4393362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1" name="Date Placeholder 15"/>
          <p:cNvSpPr>
            <a:spLocks noGrp="1"/>
          </p:cNvSpPr>
          <p:nvPr>
            <p:ph type="dt" sz="half" idx="19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8272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and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15829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29643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73600" y="1341445"/>
            <a:ext cx="4953600" cy="2036951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1" hasCustomPrompt="1"/>
          </p:nvPr>
        </p:nvSpPr>
        <p:spPr>
          <a:xfrm>
            <a:off x="873600" y="3621789"/>
            <a:ext cx="4953600" cy="2035589"/>
          </a:xfrm>
        </p:spPr>
        <p:txBody>
          <a:bodyPr anchor="ctr"/>
          <a:lstStyle>
            <a:lvl1pPr algn="ctr">
              <a:defRPr/>
            </a:lvl1pPr>
            <a:lvl5pPr>
              <a:defRPr baseline="0"/>
            </a:lvl5pPr>
          </a:lstStyle>
          <a:p>
            <a:pPr lvl="0"/>
            <a:r>
              <a:rPr lang="en-AU" noProof="0" dirty="0"/>
              <a:t>Click on icons to insert content</a:t>
            </a:r>
          </a:p>
        </p:txBody>
      </p:sp>
      <p:sp>
        <p:nvSpPr>
          <p:cNvPr id="17" name="Date Placeholder 15"/>
          <p:cNvSpPr>
            <a:spLocks noGrp="1"/>
          </p:cNvSpPr>
          <p:nvPr>
            <p:ph type="dt" sz="half" idx="23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42547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6288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0" y="1342800"/>
            <a:ext cx="49536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0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85316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 with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873603" y="1342800"/>
            <a:ext cx="10667300" cy="4395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AU" dirty="0"/>
              <a:t>Click icon to insert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3600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440" y="4"/>
            <a:ext cx="12191129" cy="6857999"/>
          </a:xfrm>
          <a:prstGeom prst="rect">
            <a:avLst/>
          </a:prstGeom>
          <a:solidFill>
            <a:srgbClr val="C6DF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73605" y="5835600"/>
            <a:ext cx="7978607" cy="442800"/>
          </a:xfrm>
        </p:spPr>
        <p:txBody>
          <a:bodyPr anchor="b"/>
          <a:lstStyle>
            <a:lvl1pPr>
              <a:defRPr sz="900" baseline="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  <a:lvl6pPr>
              <a:defRPr sz="900">
                <a:solidFill>
                  <a:schemeClr val="tx1"/>
                </a:solidFill>
              </a:defRPr>
            </a:lvl6pPr>
            <a:lvl7pPr>
              <a:defRPr sz="900">
                <a:solidFill>
                  <a:schemeClr val="tx1"/>
                </a:solidFill>
              </a:defRPr>
            </a:lvl7pPr>
            <a:lvl8pPr>
              <a:defRPr sz="900">
                <a:solidFill>
                  <a:schemeClr val="tx1"/>
                </a:solidFill>
              </a:defRPr>
            </a:lvl8pPr>
            <a:lvl9pPr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N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ctr">
              <a:defRPr/>
            </a:lvl1pPr>
          </a:lstStyle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12" name="Date Placeholder 15"/>
          <p:cNvSpPr>
            <a:spLocks noGrp="1"/>
          </p:cNvSpPr>
          <p:nvPr>
            <p:ph type="dt" sz="half" idx="18"/>
          </p:nvPr>
        </p:nvSpPr>
        <p:spPr>
          <a:xfrm>
            <a:off x="873603" y="6429600"/>
            <a:ext cx="7978607" cy="162000"/>
          </a:xfrm>
          <a:prstGeom prst="rect">
            <a:avLst/>
          </a:prstGeom>
        </p:spPr>
        <p:txBody>
          <a:bodyPr/>
          <a:lstStyle>
            <a:lvl1pPr algn="l">
              <a:defRPr sz="1000" b="0">
                <a:solidFill>
                  <a:schemeClr val="tx2"/>
                </a:solidFill>
              </a:defRPr>
            </a:lvl1pPr>
          </a:lstStyle>
          <a:p>
            <a:endParaRPr lang="en-AU" dirty="0">
              <a:solidFill>
                <a:srgbClr val="007D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13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30.xml"/><Relationship Id="rId21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29" Type="http://schemas.openxmlformats.org/officeDocument/2006/relationships/theme" Target="../theme/theme7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slideLayout" Target="../slideLayouts/slideLayout15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58.xml"/><Relationship Id="rId21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0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23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65.xml"/><Relationship Id="rId19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Relationship Id="rId22" Type="http://schemas.openxmlformats.org/officeDocument/2006/relationships/slideLayout" Target="../slideLayouts/slideLayout1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440" y="8"/>
            <a:ext cx="12191129" cy="1052735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3603" y="457201"/>
            <a:ext cx="10667300" cy="307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2400" y="1341438"/>
            <a:ext cx="10665600" cy="4394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53069" y="6429600"/>
            <a:ext cx="685867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185EA1E-79F1-42FE-BF0E-812787AB23E5}" type="slidenum">
              <a:rPr lang="en-AU" smtClean="0">
                <a:solidFill>
                  <a:srgbClr val="595A5B"/>
                </a:solidFill>
                <a:latin typeface="Verdana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dirty="0">
              <a:solidFill>
                <a:srgbClr val="595A5B"/>
              </a:solidFill>
              <a:latin typeface="Verdana"/>
              <a:cs typeface="+mn-cs"/>
            </a:endParaRPr>
          </a:p>
        </p:txBody>
      </p:sp>
      <p:sp>
        <p:nvSpPr>
          <p:cNvPr id="4" name="MSIPCMContentMarking" descr="{&quot;HashCode&quot;:2133105206,&quot;Placement&quot;:&quot;Footer&quot;}"/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746411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5" r:id="rId2"/>
    <p:sldLayoutId id="2147484158" r:id="rId3"/>
    <p:sldLayoutId id="2147484230" r:id="rId4"/>
    <p:sldLayoutId id="2147484299" r:id="rId5"/>
    <p:sldLayoutId id="2147484300" r:id="rId6"/>
    <p:sldLayoutId id="2147484435" r:id="rId7"/>
    <p:sldLayoutId id="2147484436" r:id="rId8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1900" b="1" kern="1200" cap="all" baseline="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15900" indent="-215900" algn="l" defTabSz="914400" rtl="0" eaLnBrk="1" latinLnBrk="0" hangingPunct="1">
        <a:spcBef>
          <a:spcPts val="600"/>
        </a:spcBef>
        <a:buClr>
          <a:srgbClr val="5BC6E8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4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64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80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96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2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40" y="8"/>
            <a:ext cx="12191129" cy="1052735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3603" y="457201"/>
            <a:ext cx="10667300" cy="307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2400" y="1341438"/>
            <a:ext cx="10665600" cy="4394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53069" y="6429600"/>
            <a:ext cx="685867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185EA1E-79F1-42FE-BF0E-812787AB23E5}" type="slidenum">
              <a:rPr lang="en-AU" smtClean="0">
                <a:solidFill>
                  <a:srgbClr val="595A5B"/>
                </a:solidFill>
                <a:latin typeface="Verdana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dirty="0">
              <a:solidFill>
                <a:srgbClr val="595A5B"/>
              </a:solidFill>
              <a:latin typeface="Verdana"/>
              <a:cs typeface="+mn-cs"/>
            </a:endParaRPr>
          </a:p>
        </p:txBody>
      </p:sp>
      <p:sp>
        <p:nvSpPr>
          <p:cNvPr id="4" name="MSIPCMContentMarking" descr="{&quot;HashCode&quot;:2133105206,&quot;Placement&quot;:&quot;Footer&quot;}"/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2013786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4" r:id="rId12"/>
    <p:sldLayoutId id="2147484275" r:id="rId13"/>
    <p:sldLayoutId id="2147484276" r:id="rId14"/>
    <p:sldLayoutId id="2147484277" r:id="rId15"/>
    <p:sldLayoutId id="2147484278" r:id="rId16"/>
    <p:sldLayoutId id="2147484279" r:id="rId17"/>
    <p:sldLayoutId id="2147484280" r:id="rId18"/>
    <p:sldLayoutId id="2147484281" r:id="rId19"/>
    <p:sldLayoutId id="2147484282" r:id="rId20"/>
    <p:sldLayoutId id="2147484283" r:id="rId21"/>
    <p:sldLayoutId id="2147484284" r:id="rId22"/>
    <p:sldLayoutId id="2147484286" r:id="rId23"/>
    <p:sldLayoutId id="2147484287" r:id="rId24"/>
    <p:sldLayoutId id="2147484288" r:id="rId25"/>
    <p:sldLayoutId id="2147484289" r:id="rId26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1900" b="1" kern="1200" cap="all" baseline="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15900" indent="-215900" algn="l" defTabSz="914400" rtl="0" eaLnBrk="1" latinLnBrk="0" hangingPunct="1">
        <a:spcBef>
          <a:spcPts val="600"/>
        </a:spcBef>
        <a:buClr>
          <a:srgbClr val="5BC6E8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4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64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80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96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2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40" y="8"/>
            <a:ext cx="12191129" cy="1052735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3603" y="457201"/>
            <a:ext cx="10667300" cy="307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2400" y="1341438"/>
            <a:ext cx="10665600" cy="4394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53069" y="6429600"/>
            <a:ext cx="685867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185EA1E-79F1-42FE-BF0E-812787AB23E5}" type="slidenum">
              <a:rPr lang="en-AU" smtClean="0">
                <a:solidFill>
                  <a:srgbClr val="595A5B"/>
                </a:solidFill>
                <a:latin typeface="Verdana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dirty="0">
              <a:solidFill>
                <a:srgbClr val="595A5B"/>
              </a:solidFill>
              <a:latin typeface="Verdana"/>
              <a:cs typeface="+mn-cs"/>
            </a:endParaRPr>
          </a:p>
        </p:txBody>
      </p:sp>
      <p:sp>
        <p:nvSpPr>
          <p:cNvPr id="9" name="Text Box 10"/>
          <p:cNvSpPr txBox="1">
            <a:spLocks noChangeArrowheads="1"/>
          </p:cNvSpPr>
          <p:nvPr userDrawn="1">
            <p:custDataLst>
              <p:tags r:id="rId25"/>
            </p:custDataLst>
          </p:nvPr>
        </p:nvSpPr>
        <p:spPr bwMode="gray">
          <a:xfrm>
            <a:off x="175849" y="6627813"/>
            <a:ext cx="3937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-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30000"/>
              </a:spcAft>
              <a:buClrTx/>
            </a:pPr>
            <a:r>
              <a:rPr lang="en-AU" altLang="en-US" sz="1000" b="1" dirty="0">
                <a:solidFill>
                  <a:srgbClr val="FF3300"/>
                </a:solidFill>
              </a:rPr>
              <a:t>Confidential</a:t>
            </a:r>
          </a:p>
        </p:txBody>
      </p:sp>
      <p:sp>
        <p:nvSpPr>
          <p:cNvPr id="4" name="MSIPCMContentMarking" descr="{&quot;HashCode&quot;:2133105206,&quot;Placement&quot;:&quot;Footer&quot;}"/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191815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  <p:sldLayoutId id="2147484248" r:id="rId12"/>
    <p:sldLayoutId id="2147484249" r:id="rId13"/>
    <p:sldLayoutId id="2147484250" r:id="rId14"/>
    <p:sldLayoutId id="2147484251" r:id="rId15"/>
    <p:sldLayoutId id="2147484252" r:id="rId16"/>
    <p:sldLayoutId id="2147484253" r:id="rId17"/>
    <p:sldLayoutId id="2147484254" r:id="rId18"/>
    <p:sldLayoutId id="2147484255" r:id="rId19"/>
    <p:sldLayoutId id="2147484256" r:id="rId20"/>
    <p:sldLayoutId id="2147484257" r:id="rId21"/>
    <p:sldLayoutId id="2147484353" r:id="rId22"/>
    <p:sldLayoutId id="2147484354" r:id="rId23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1900" b="1" kern="1200" cap="all" baseline="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15900" indent="-215900" algn="l" defTabSz="914400" rtl="0" eaLnBrk="1" latinLnBrk="0" hangingPunct="1">
        <a:spcBef>
          <a:spcPts val="600"/>
        </a:spcBef>
        <a:buClr>
          <a:srgbClr val="5BC6E8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4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64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80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96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2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40" y="8"/>
            <a:ext cx="12191129" cy="1052735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3603" y="457201"/>
            <a:ext cx="10667300" cy="307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2400" y="1341438"/>
            <a:ext cx="10665600" cy="4394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53069" y="6429600"/>
            <a:ext cx="685867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4" name="MSIPCMContentMarking" descr="{&quot;HashCode&quot;:2133105206,&quot;Placement&quot;:&quot;Footer&quot;}"/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139008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3" r:id="rId1"/>
    <p:sldLayoutId id="2147484304" r:id="rId2"/>
    <p:sldLayoutId id="2147484305" r:id="rId3"/>
    <p:sldLayoutId id="2147484306" r:id="rId4"/>
    <p:sldLayoutId id="2147484307" r:id="rId5"/>
    <p:sldLayoutId id="2147484308" r:id="rId6"/>
    <p:sldLayoutId id="2147484309" r:id="rId7"/>
    <p:sldLayoutId id="2147484310" r:id="rId8"/>
    <p:sldLayoutId id="2147484311" r:id="rId9"/>
    <p:sldLayoutId id="2147484312" r:id="rId10"/>
    <p:sldLayoutId id="2147484313" r:id="rId11"/>
    <p:sldLayoutId id="2147484314" r:id="rId12"/>
    <p:sldLayoutId id="2147484315" r:id="rId13"/>
    <p:sldLayoutId id="2147484316" r:id="rId14"/>
    <p:sldLayoutId id="2147484317" r:id="rId15"/>
    <p:sldLayoutId id="2147484318" r:id="rId16"/>
    <p:sldLayoutId id="2147484319" r:id="rId17"/>
    <p:sldLayoutId id="2147484320" r:id="rId18"/>
    <p:sldLayoutId id="2147484321" r:id="rId19"/>
    <p:sldLayoutId id="2147484322" r:id="rId20"/>
    <p:sldLayoutId id="2147484323" r:id="rId21"/>
    <p:sldLayoutId id="2147484324" r:id="rId22"/>
    <p:sldLayoutId id="2147484325" r:id="rId23"/>
    <p:sldLayoutId id="2147484327" r:id="rId24"/>
    <p:sldLayoutId id="2147484328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1900" b="1" kern="1200" cap="all" baseline="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15900" indent="-215900" algn="l" defTabSz="914400" rtl="0" eaLnBrk="1" latinLnBrk="0" hangingPunct="1">
        <a:spcBef>
          <a:spcPts val="600"/>
        </a:spcBef>
        <a:buClr>
          <a:srgbClr val="5BC6E8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4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64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80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96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2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40" y="8"/>
            <a:ext cx="12191129" cy="1052735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3603" y="457201"/>
            <a:ext cx="10667300" cy="307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2400" y="1341438"/>
            <a:ext cx="10665600" cy="4394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53069" y="6429600"/>
            <a:ext cx="685867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185EA1E-79F1-42FE-BF0E-812787AB23E5}" type="slidenum">
              <a:rPr lang="en-AU" smtClean="0">
                <a:solidFill>
                  <a:srgbClr val="595A5B"/>
                </a:solidFill>
                <a:latin typeface="Verdana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dirty="0">
              <a:solidFill>
                <a:srgbClr val="595A5B"/>
              </a:solidFill>
              <a:latin typeface="Verdana"/>
              <a:cs typeface="+mn-cs"/>
            </a:endParaRPr>
          </a:p>
        </p:txBody>
      </p:sp>
      <p:sp>
        <p:nvSpPr>
          <p:cNvPr id="4" name="MSIPCMContentMarking" descr="{&quot;HashCode&quot;:2133105206,&quot;Placement&quot;:&quot;Footer&quot;}"/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3381300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  <p:sldLayoutId id="2147484342" r:id="rId13"/>
    <p:sldLayoutId id="2147484343" r:id="rId14"/>
    <p:sldLayoutId id="2147484344" r:id="rId15"/>
    <p:sldLayoutId id="2147484345" r:id="rId16"/>
    <p:sldLayoutId id="2147484346" r:id="rId17"/>
    <p:sldLayoutId id="2147484347" r:id="rId18"/>
    <p:sldLayoutId id="2147484348" r:id="rId19"/>
    <p:sldLayoutId id="2147484349" r:id="rId20"/>
    <p:sldLayoutId id="2147484350" r:id="rId21"/>
    <p:sldLayoutId id="2147484351" r:id="rId22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1900" b="1" kern="1200" cap="all" baseline="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15900" indent="-215900" algn="l" defTabSz="914400" rtl="0" eaLnBrk="1" latinLnBrk="0" hangingPunct="1">
        <a:spcBef>
          <a:spcPts val="600"/>
        </a:spcBef>
        <a:buClr>
          <a:srgbClr val="5BC6E8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4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64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80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96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2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40" y="8"/>
            <a:ext cx="12191129" cy="1052735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3603" y="457201"/>
            <a:ext cx="10667300" cy="307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2400" y="1341438"/>
            <a:ext cx="10665600" cy="4394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301" y="6590336"/>
            <a:ext cx="3025633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7144728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AU" dirty="0"/>
              <a:t>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53069" y="6429600"/>
            <a:ext cx="685867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MSIPCMContentMarking" descr="{&quot;HashCode&quot;:2133105206,&quot;Placement&quot;:&quot;Footer&quot;}"/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1155792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7" r:id="rId2"/>
    <p:sldLayoutId id="2147484358" r:id="rId3"/>
    <p:sldLayoutId id="2147484359" r:id="rId4"/>
    <p:sldLayoutId id="2147484360" r:id="rId5"/>
    <p:sldLayoutId id="2147484361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8" r:id="rId13"/>
    <p:sldLayoutId id="2147484369" r:id="rId14"/>
    <p:sldLayoutId id="2147484370" r:id="rId15"/>
    <p:sldLayoutId id="2147484371" r:id="rId16"/>
    <p:sldLayoutId id="2147484372" r:id="rId17"/>
    <p:sldLayoutId id="2147484373" r:id="rId18"/>
    <p:sldLayoutId id="2147484374" r:id="rId19"/>
    <p:sldLayoutId id="2147484375" r:id="rId20"/>
    <p:sldLayoutId id="2147484376" r:id="rId21"/>
    <p:sldLayoutId id="2147484377" r:id="rId22"/>
    <p:sldLayoutId id="2147484378" r:id="rId23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1900" b="1" kern="1200" cap="all" baseline="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15900" indent="-215900" algn="l" defTabSz="914400" rtl="0" eaLnBrk="1" latinLnBrk="0" hangingPunct="1">
        <a:spcBef>
          <a:spcPts val="600"/>
        </a:spcBef>
        <a:buClr>
          <a:srgbClr val="5BC6E8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4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64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80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96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2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40" y="8"/>
            <a:ext cx="12191129" cy="1052735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3603" y="457201"/>
            <a:ext cx="10667300" cy="307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2400" y="1341438"/>
            <a:ext cx="10665600" cy="4394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301" y="6590336"/>
            <a:ext cx="3025633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4680" y="6428336"/>
            <a:ext cx="7144728" cy="16326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AU" sz="1000" b="1" dirty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AU" dirty="0"/>
              <a:t>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53069" y="6429600"/>
            <a:ext cx="685867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D185EA1E-79F1-42FE-BF0E-812787AB23E5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MSIPCMContentMarking" descr="{&quot;HashCode&quot;:2133105206,&quot;Placement&quot;:&quot;Footer&quot;}"/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376416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2" r:id="rId1"/>
    <p:sldLayoutId id="2147484383" r:id="rId2"/>
    <p:sldLayoutId id="2147484384" r:id="rId3"/>
    <p:sldLayoutId id="2147484385" r:id="rId4"/>
    <p:sldLayoutId id="2147484386" r:id="rId5"/>
    <p:sldLayoutId id="2147484387" r:id="rId6"/>
    <p:sldLayoutId id="2147484388" r:id="rId7"/>
    <p:sldLayoutId id="2147484389" r:id="rId8"/>
    <p:sldLayoutId id="2147484390" r:id="rId9"/>
    <p:sldLayoutId id="2147484391" r:id="rId10"/>
    <p:sldLayoutId id="2147484392" r:id="rId11"/>
    <p:sldLayoutId id="2147484393" r:id="rId12"/>
    <p:sldLayoutId id="2147484394" r:id="rId13"/>
    <p:sldLayoutId id="2147484395" r:id="rId14"/>
    <p:sldLayoutId id="2147484396" r:id="rId15"/>
    <p:sldLayoutId id="2147484397" r:id="rId16"/>
    <p:sldLayoutId id="2147484398" r:id="rId17"/>
    <p:sldLayoutId id="2147484399" r:id="rId18"/>
    <p:sldLayoutId id="2147484400" r:id="rId19"/>
    <p:sldLayoutId id="2147484401" r:id="rId20"/>
    <p:sldLayoutId id="2147484402" r:id="rId21"/>
    <p:sldLayoutId id="2147484403" r:id="rId22"/>
    <p:sldLayoutId id="2147484404" r:id="rId23"/>
    <p:sldLayoutId id="2147484405" r:id="rId24"/>
    <p:sldLayoutId id="2147484406" r:id="rId25"/>
    <p:sldLayoutId id="2147484407" r:id="rId26"/>
    <p:sldLayoutId id="2147484408" r:id="rId27"/>
    <p:sldLayoutId id="2147484409" r:id="rId28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1900" b="1" kern="1200" cap="all" baseline="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15900" indent="-215900" algn="l" defTabSz="914400" rtl="0" eaLnBrk="1" latinLnBrk="0" hangingPunct="1">
        <a:spcBef>
          <a:spcPts val="600"/>
        </a:spcBef>
        <a:buClr>
          <a:srgbClr val="5BC6E8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4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64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80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96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2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28000" indent="-216000" algn="l" defTabSz="914400" rtl="0" eaLnBrk="1" latinLnBrk="0" hangingPunct="1">
        <a:spcBef>
          <a:spcPts val="600"/>
        </a:spcBef>
        <a:buClr>
          <a:srgbClr val="5BC6E8"/>
        </a:buClr>
        <a:buFont typeface="Verdana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41" y="10"/>
            <a:ext cx="12191129" cy="1052735"/>
          </a:xfrm>
          <a:prstGeom prst="rect">
            <a:avLst/>
          </a:prstGeom>
          <a:solidFill>
            <a:srgbClr val="E9F5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3603" y="457201"/>
            <a:ext cx="10667300" cy="307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2400" y="1341438"/>
            <a:ext cx="10665600" cy="4394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53069" y="6429600"/>
            <a:ext cx="685867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fld id="{D185EA1E-79F1-42FE-BF0E-812787AB23E5}" type="slidenum">
              <a:rPr lang="en-AU" smtClean="0">
                <a:solidFill>
                  <a:srgbClr val="595A5B"/>
                </a:solidFill>
              </a:rPr>
              <a:pPr/>
              <a:t>‹#›</a:t>
            </a:fld>
            <a:endParaRPr lang="en-AU" dirty="0">
              <a:solidFill>
                <a:srgbClr val="595A5B"/>
              </a:solidFill>
            </a:endParaRPr>
          </a:p>
        </p:txBody>
      </p:sp>
      <p:sp>
        <p:nvSpPr>
          <p:cNvPr id="9" name="Text Box 10"/>
          <p:cNvSpPr txBox="1">
            <a:spLocks noChangeArrowheads="1"/>
          </p:cNvSpPr>
          <p:nvPr userDrawn="1">
            <p:custDataLst>
              <p:tags r:id="rId25"/>
            </p:custDataLst>
          </p:nvPr>
        </p:nvSpPr>
        <p:spPr bwMode="gray">
          <a:xfrm>
            <a:off x="175849" y="6627813"/>
            <a:ext cx="3937000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-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30000"/>
              </a:spcAft>
              <a:buClrTx/>
            </a:pPr>
            <a:r>
              <a:rPr lang="en-AU" altLang="en-US" sz="750" b="1" dirty="0">
                <a:solidFill>
                  <a:srgbClr val="FF3300"/>
                </a:solidFill>
              </a:rPr>
              <a:t>Confidential</a:t>
            </a:r>
          </a:p>
        </p:txBody>
      </p:sp>
      <p:sp>
        <p:nvSpPr>
          <p:cNvPr id="5" name="MSIPCMContentMarking" descr="{&quot;HashCode&quot;:2133105206,&quot;Placement&quot;:&quot;Footer&quot;}">
            <a:extLst>
              <a:ext uri="{FF2B5EF4-FFF2-40B4-BE49-F238E27FC236}">
                <a16:creationId xmlns:a16="http://schemas.microsoft.com/office/drawing/2014/main" id="{3CDA2705-5AFE-40C6-94C9-0F7ACDF36E98}"/>
              </a:ext>
            </a:extLst>
          </p:cNvPr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2066629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2" r:id="rId1"/>
    <p:sldLayoutId id="2147484413" r:id="rId2"/>
    <p:sldLayoutId id="2147484414" r:id="rId3"/>
    <p:sldLayoutId id="2147484415" r:id="rId4"/>
    <p:sldLayoutId id="2147484416" r:id="rId5"/>
    <p:sldLayoutId id="2147484417" r:id="rId6"/>
    <p:sldLayoutId id="2147484418" r:id="rId7"/>
    <p:sldLayoutId id="2147484419" r:id="rId8"/>
    <p:sldLayoutId id="2147484420" r:id="rId9"/>
    <p:sldLayoutId id="2147484421" r:id="rId10"/>
    <p:sldLayoutId id="2147484422" r:id="rId11"/>
    <p:sldLayoutId id="2147484423" r:id="rId12"/>
    <p:sldLayoutId id="2147484424" r:id="rId13"/>
    <p:sldLayoutId id="2147484425" r:id="rId14"/>
    <p:sldLayoutId id="2147484426" r:id="rId15"/>
    <p:sldLayoutId id="2147484427" r:id="rId16"/>
    <p:sldLayoutId id="2147484428" r:id="rId17"/>
    <p:sldLayoutId id="2147484429" r:id="rId18"/>
    <p:sldLayoutId id="2147484430" r:id="rId19"/>
    <p:sldLayoutId id="2147484431" r:id="rId20"/>
    <p:sldLayoutId id="2147484432" r:id="rId21"/>
    <p:sldLayoutId id="2147484433" r:id="rId22"/>
    <p:sldLayoutId id="2147484434" r:id="rId23"/>
  </p:sldLayoutIdLst>
  <p:hf hdr="0" ftr="0" dt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1425" b="1" kern="1200" cap="all" baseline="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685800" rtl="0" eaLnBrk="1" latinLnBrk="0" hangingPunct="1">
        <a:spcBef>
          <a:spcPts val="450"/>
        </a:spcBef>
        <a:buFont typeface="Arial" pitchFamily="34" charset="0"/>
        <a:buNone/>
        <a:defRPr sz="12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1925" indent="-161925" algn="l" defTabSz="685800" rtl="0" eaLnBrk="1" latinLnBrk="0" hangingPunct="1">
        <a:spcBef>
          <a:spcPts val="450"/>
        </a:spcBef>
        <a:buClr>
          <a:srgbClr val="5BC6E8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24000" indent="-162000" algn="l" defTabSz="685800" rtl="0" eaLnBrk="1" latinLnBrk="0" hangingPunct="1">
        <a:spcBef>
          <a:spcPts val="450"/>
        </a:spcBef>
        <a:buClr>
          <a:srgbClr val="5BC6E8"/>
        </a:buClr>
        <a:buFont typeface="Verdana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486000" indent="-162000" algn="l" defTabSz="685800" rtl="0" eaLnBrk="1" latinLnBrk="0" hangingPunct="1">
        <a:spcBef>
          <a:spcPts val="450"/>
        </a:spcBef>
        <a:buClr>
          <a:srgbClr val="5BC6E8"/>
        </a:buClr>
        <a:buFont typeface="Verdana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48000" indent="-162000" algn="l" defTabSz="685800" rtl="0" eaLnBrk="1" latinLnBrk="0" hangingPunct="1">
        <a:spcBef>
          <a:spcPts val="450"/>
        </a:spcBef>
        <a:buClr>
          <a:srgbClr val="5BC6E8"/>
        </a:buClr>
        <a:buFont typeface="Verdana" pitchFamily="34" charset="0"/>
        <a:buChar char="–"/>
        <a:defRPr sz="12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810000" indent="-162000" algn="l" defTabSz="685800" rtl="0" eaLnBrk="1" latinLnBrk="0" hangingPunct="1">
        <a:spcBef>
          <a:spcPts val="450"/>
        </a:spcBef>
        <a:buClr>
          <a:srgbClr val="5BC6E8"/>
        </a:buClr>
        <a:buFont typeface="Verdana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972000" indent="-162000" algn="l" defTabSz="685800" rtl="0" eaLnBrk="1" latinLnBrk="0" hangingPunct="1">
        <a:spcBef>
          <a:spcPts val="450"/>
        </a:spcBef>
        <a:buClr>
          <a:srgbClr val="5BC6E8"/>
        </a:buClr>
        <a:buFont typeface="Verdana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134000" indent="-162000" algn="l" defTabSz="685800" rtl="0" eaLnBrk="1" latinLnBrk="0" hangingPunct="1">
        <a:spcBef>
          <a:spcPts val="450"/>
        </a:spcBef>
        <a:buClr>
          <a:srgbClr val="5BC6E8"/>
        </a:buClr>
        <a:buFont typeface="Verdana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296000" indent="-162000" algn="l" defTabSz="685800" rtl="0" eaLnBrk="1" latinLnBrk="0" hangingPunct="1">
        <a:spcBef>
          <a:spcPts val="450"/>
        </a:spcBef>
        <a:buClr>
          <a:srgbClr val="5BC6E8"/>
        </a:buClr>
        <a:buFont typeface="Verdana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9"/>
          <p:cNvSpPr>
            <a:spLocks noGrp="1"/>
          </p:cNvSpPr>
          <p:nvPr>
            <p:ph type="ctrTitle"/>
          </p:nvPr>
        </p:nvSpPr>
        <p:spPr>
          <a:xfrm>
            <a:off x="2103770" y="3584342"/>
            <a:ext cx="3366590" cy="766800"/>
          </a:xfrm>
        </p:spPr>
        <p:txBody>
          <a:bodyPr/>
          <a:lstStyle/>
          <a:p>
            <a:pPr algn="l"/>
            <a:r>
              <a:rPr lang="en-AU" altLang="en-US" dirty="0">
                <a:solidFill>
                  <a:schemeClr val="bg2"/>
                </a:solidFill>
              </a:rPr>
              <a:t>ANZ - Wipro</a:t>
            </a:r>
            <a:endParaRPr lang="en-AU" dirty="0">
              <a:solidFill>
                <a:schemeClr val="bg2"/>
              </a:solidFill>
            </a:endParaRPr>
          </a:p>
        </p:txBody>
      </p:sp>
      <p:sp>
        <p:nvSpPr>
          <p:cNvPr id="7" name="Subtitle 3"/>
          <p:cNvSpPr>
            <a:spLocks noGrp="1"/>
          </p:cNvSpPr>
          <p:nvPr>
            <p:ph type="subTitle" idx="1"/>
          </p:nvPr>
        </p:nvSpPr>
        <p:spPr>
          <a:xfrm>
            <a:off x="2103968" y="4478015"/>
            <a:ext cx="3227311" cy="330749"/>
          </a:xfrm>
        </p:spPr>
        <p:txBody>
          <a:bodyPr/>
          <a:lstStyle/>
          <a:p>
            <a:pPr algn="l"/>
            <a:r>
              <a:rPr lang="en-AU" altLang="en-US" b="1" dirty="0">
                <a:solidFill>
                  <a:schemeClr val="bg2"/>
                </a:solidFill>
              </a:rPr>
              <a:t>IIQ Automation POC</a:t>
            </a:r>
            <a:endParaRPr lang="en-AU" b="1" dirty="0">
              <a:solidFill>
                <a:schemeClr val="bg2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188244" y="3584349"/>
            <a:ext cx="3367176" cy="215677"/>
          </a:xfrm>
        </p:spPr>
        <p:txBody>
          <a:bodyPr/>
          <a:lstStyle/>
          <a:p>
            <a:pPr algn="l"/>
            <a:r>
              <a:rPr lang="en-AU" dirty="0"/>
              <a:t>January 2020</a:t>
            </a:r>
            <a:endParaRPr lang="en-A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2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0EC04-0315-4928-BE8B-A414ECBD36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800" dirty="0" smtClean="0"/>
          </a:p>
          <a:p>
            <a:endParaRPr lang="en-US" sz="2800" dirty="0"/>
          </a:p>
          <a:p>
            <a:endParaRPr lang="en-US" sz="2800" dirty="0" smtClean="0"/>
          </a:p>
          <a:p>
            <a:r>
              <a:rPr lang="en-US" sz="2800" dirty="0"/>
              <a:t>	</a:t>
            </a:r>
            <a:r>
              <a:rPr lang="en-US" sz="2800" dirty="0" smtClean="0"/>
              <a:t>				Q&amp;A</a:t>
            </a: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37E43-1777-4041-A91C-6CD9150D7C5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71353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66294-B891-4C90-A77C-BCBD15A87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0EC04-0315-4928-BE8B-A414ECBD36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3600" y="1570788"/>
            <a:ext cx="10665600" cy="4373857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          </a:t>
            </a:r>
            <a:r>
              <a:rPr lang="en-US" sz="2400" dirty="0" smtClean="0"/>
              <a:t>Current Scenario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           </a:t>
            </a:r>
            <a:r>
              <a:rPr lang="en-US" sz="2400" dirty="0" smtClean="0"/>
              <a:t>Automation </a:t>
            </a:r>
            <a:r>
              <a:rPr lang="en-US" sz="2400" dirty="0"/>
              <a:t>Scope</a:t>
            </a:r>
            <a:endParaRPr lang="en-US" dirty="0"/>
          </a:p>
          <a:p>
            <a:endParaRPr lang="en-US" dirty="0" smtClean="0"/>
          </a:p>
          <a:p>
            <a:r>
              <a:rPr lang="en-US" dirty="0"/>
              <a:t> </a:t>
            </a:r>
            <a:r>
              <a:rPr lang="en-US" dirty="0" smtClean="0"/>
              <a:t>          </a:t>
            </a:r>
            <a:r>
              <a:rPr lang="en-US" sz="2400" dirty="0" smtClean="0"/>
              <a:t>Automation </a:t>
            </a:r>
            <a:r>
              <a:rPr lang="en-US" sz="2400" dirty="0" smtClean="0"/>
              <a:t>Framework &amp; Benefits</a:t>
            </a:r>
            <a:endParaRPr lang="en-US" sz="2400" dirty="0" smtClean="0"/>
          </a:p>
          <a:p>
            <a:endParaRPr lang="en-US" dirty="0"/>
          </a:p>
          <a:p>
            <a:r>
              <a:rPr lang="en-US" sz="2400" dirty="0" smtClean="0"/>
              <a:t>       Execution </a:t>
            </a:r>
            <a:r>
              <a:rPr lang="en-US" sz="2400" dirty="0"/>
              <a:t>steps and Reports</a:t>
            </a:r>
            <a:endParaRPr lang="en-US" dirty="0"/>
          </a:p>
          <a:p>
            <a:endParaRPr lang="en-US" dirty="0"/>
          </a:p>
          <a:p>
            <a:r>
              <a:rPr lang="en-US" dirty="0"/>
              <a:t> </a:t>
            </a:r>
            <a:r>
              <a:rPr lang="en-US" dirty="0" smtClean="0"/>
              <a:t>          </a:t>
            </a:r>
            <a:r>
              <a:rPr lang="en-US" sz="2400" dirty="0" smtClean="0"/>
              <a:t>Future Opportunities</a:t>
            </a:r>
            <a:endParaRPr lang="en-US" sz="2400" dirty="0" smtClean="0"/>
          </a:p>
          <a:p>
            <a:endParaRPr lang="en-US" sz="2400" dirty="0"/>
          </a:p>
          <a:p>
            <a:r>
              <a:rPr lang="en-US" sz="2000" dirty="0" smtClean="0"/>
              <a:t>         </a:t>
            </a:r>
            <a:r>
              <a:rPr lang="en-US" sz="2400" dirty="0" smtClean="0"/>
              <a:t>Q&amp;A</a:t>
            </a:r>
            <a:endParaRPr lang="en-US" sz="2000" dirty="0"/>
          </a:p>
          <a:p>
            <a:endParaRPr lang="en-US" sz="20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37E43-1777-4041-A91C-6CD9150D7C5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1</a:t>
            </a:fld>
            <a:endParaRPr lang="en-AU" dirty="0"/>
          </a:p>
        </p:txBody>
      </p:sp>
      <p:sp>
        <p:nvSpPr>
          <p:cNvPr id="6" name="Right Arrow 5"/>
          <p:cNvSpPr/>
          <p:nvPr/>
        </p:nvSpPr>
        <p:spPr>
          <a:xfrm>
            <a:off x="1064525" y="2358920"/>
            <a:ext cx="423081" cy="300251"/>
          </a:xfrm>
          <a:prstGeom prst="rightArrow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9" name="Right Arrow 8"/>
          <p:cNvSpPr/>
          <p:nvPr/>
        </p:nvSpPr>
        <p:spPr>
          <a:xfrm>
            <a:off x="1053149" y="3114153"/>
            <a:ext cx="423081" cy="300251"/>
          </a:xfrm>
          <a:prstGeom prst="rightArrow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0" name="Right Arrow 9"/>
          <p:cNvSpPr/>
          <p:nvPr/>
        </p:nvSpPr>
        <p:spPr>
          <a:xfrm>
            <a:off x="1069069" y="3890834"/>
            <a:ext cx="423081" cy="300251"/>
          </a:xfrm>
          <a:prstGeom prst="rightArrow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1" name="Right Arrow 10"/>
          <p:cNvSpPr/>
          <p:nvPr/>
        </p:nvSpPr>
        <p:spPr>
          <a:xfrm>
            <a:off x="1071341" y="4620536"/>
            <a:ext cx="423081" cy="300251"/>
          </a:xfrm>
          <a:prstGeom prst="rightArrow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2" name="Right Arrow 11"/>
          <p:cNvSpPr/>
          <p:nvPr/>
        </p:nvSpPr>
        <p:spPr>
          <a:xfrm>
            <a:off x="1059971" y="5520637"/>
            <a:ext cx="423081" cy="300251"/>
          </a:xfrm>
          <a:prstGeom prst="rightArrow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3" name="Right Arrow 12"/>
          <p:cNvSpPr/>
          <p:nvPr/>
        </p:nvSpPr>
        <p:spPr>
          <a:xfrm>
            <a:off x="1073232" y="1623040"/>
            <a:ext cx="423081" cy="300251"/>
          </a:xfrm>
          <a:prstGeom prst="rightArrow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41467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scenario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sz="2400" dirty="0" smtClean="0"/>
              <a:t>In </a:t>
            </a:r>
            <a:r>
              <a:rPr lang="en-US" sz="2400" dirty="0"/>
              <a:t>the current scenario, the </a:t>
            </a:r>
            <a:r>
              <a:rPr lang="en-US" sz="2400" dirty="0" smtClean="0"/>
              <a:t>ANZ on-boarded employees </a:t>
            </a:r>
            <a:r>
              <a:rPr lang="en-US" sz="2400" dirty="0"/>
              <a:t>run through multiple </a:t>
            </a:r>
            <a:r>
              <a:rPr lang="en-US" sz="2400" dirty="0" smtClean="0"/>
              <a:t>roles </a:t>
            </a:r>
            <a:r>
              <a:rPr lang="en-US" sz="2400" dirty="0"/>
              <a:t>in a day, wherein the roles </a:t>
            </a:r>
            <a:r>
              <a:rPr lang="en-US" sz="2400" dirty="0" smtClean="0"/>
              <a:t>statuses change based </a:t>
            </a:r>
            <a:r>
              <a:rPr lang="en-US" sz="2400" dirty="0"/>
              <a:t>on the eligible </a:t>
            </a:r>
            <a:r>
              <a:rPr lang="en-US" sz="2400" dirty="0" smtClean="0"/>
              <a:t>courses </a:t>
            </a:r>
            <a:r>
              <a:rPr lang="en-US" sz="2400" dirty="0"/>
              <a:t>are completed. It is very tedious job to track the list of roles tagged </a:t>
            </a:r>
            <a:r>
              <a:rPr lang="en-US" sz="2400" dirty="0" smtClean="0"/>
              <a:t>by </a:t>
            </a:r>
            <a:r>
              <a:rPr lang="en-US" sz="2400" dirty="0"/>
              <a:t>an employee in a </a:t>
            </a:r>
            <a:r>
              <a:rPr lang="en-US" sz="2400" dirty="0" smtClean="0"/>
              <a:t>day.</a:t>
            </a:r>
          </a:p>
          <a:p>
            <a:endParaRPr lang="en-US" sz="2400" dirty="0"/>
          </a:p>
          <a:p>
            <a:r>
              <a:rPr lang="en-US" sz="2400" dirty="0" smtClean="0"/>
              <a:t>To Overcome this huge manual efforts, We recommend Test Automation to execute the above repeated steps in a single script.</a:t>
            </a:r>
          </a:p>
          <a:p>
            <a:r>
              <a:rPr lang="en-US" sz="2400" dirty="0" smtClean="0"/>
              <a:t>Reduces lot of manual efforts and saves time to the user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33416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66294-B891-4C90-A77C-BCBD15A87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utomation scop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0EC04-0315-4928-BE8B-A414ECBD36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/>
              <a:t> </a:t>
            </a:r>
            <a:r>
              <a:rPr lang="en-US" dirty="0" smtClean="0"/>
              <a:t>     </a:t>
            </a:r>
            <a:r>
              <a:rPr lang="en-US" dirty="0" smtClean="0"/>
              <a:t>	</a:t>
            </a:r>
            <a:endParaRPr lang="en-US" dirty="0"/>
          </a:p>
          <a:p>
            <a:pPr marL="457200" lvl="0" indent="-381000">
              <a:buClr>
                <a:schemeClr val="dk2"/>
              </a:buClr>
              <a:buSzPct val="166666"/>
            </a:pPr>
            <a:r>
              <a:rPr lang="en" i="1" dirty="0" smtClean="0"/>
              <a:t>	</a:t>
            </a:r>
            <a:r>
              <a:rPr lang="en" sz="2400" i="1" dirty="0" smtClean="0"/>
              <a:t>The </a:t>
            </a:r>
            <a:r>
              <a:rPr lang="en" sz="2400" i="1" dirty="0"/>
              <a:t>scope of the IIQ application automation is to automate different roles of the ERBAC system, where it validates schema details against parameters of the application in the system.</a:t>
            </a:r>
          </a:p>
          <a:p>
            <a:pPr marL="457200" lvl="0" indent="-381000">
              <a:buClr>
                <a:schemeClr val="dk2"/>
              </a:buClr>
              <a:buSzPct val="166666"/>
            </a:pPr>
            <a:endParaRPr lang="en" sz="2400" i="1" dirty="0"/>
          </a:p>
          <a:p>
            <a:pPr marL="457200" lvl="0" indent="-381000">
              <a:buClr>
                <a:schemeClr val="dk2"/>
              </a:buClr>
              <a:buSzPct val="166666"/>
            </a:pPr>
            <a:r>
              <a:rPr lang="en-US" sz="2400" i="1" dirty="0"/>
              <a:t>    E</a:t>
            </a:r>
            <a:r>
              <a:rPr lang="en" sz="2400" i="1" dirty="0"/>
              <a:t>x:-  Rolenames are</a:t>
            </a:r>
          </a:p>
          <a:p>
            <a:pPr marL="457200" lvl="0" indent="-381000">
              <a:buClr>
                <a:schemeClr val="dk2"/>
              </a:buClr>
              <a:buSzPct val="166666"/>
            </a:pPr>
            <a:r>
              <a:rPr lang="en" sz="2400" i="1" dirty="0"/>
              <a:t>		  ABN - Branch Manager (RBI Tier 2)</a:t>
            </a:r>
          </a:p>
          <a:p>
            <a:pPr marL="457200" lvl="0" indent="-381000">
              <a:buClr>
                <a:schemeClr val="dk2"/>
              </a:buClr>
              <a:buSzPct val="166666"/>
            </a:pPr>
            <a:r>
              <a:rPr lang="en" sz="2400" i="1" dirty="0"/>
              <a:t>		  ABN – Branch Manager (LOCAM)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37E43-1777-4041-A91C-6CD9150D7C5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35674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66294-B891-4C90-A77C-BCBD15A87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ion Frame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0EC04-0315-4928-BE8B-A414ECBD36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pPr marL="457200" lvl="0" indent="-381000">
              <a:buClr>
                <a:schemeClr val="dk2"/>
              </a:buClr>
              <a:buSzPct val="166666"/>
            </a:pPr>
            <a:r>
              <a:rPr lang="en" sz="2400" dirty="0"/>
              <a:t>The framework is developed using the below software products,</a:t>
            </a:r>
          </a:p>
          <a:p>
            <a:pPr marL="457200" lvl="0" indent="-381000">
              <a:buClr>
                <a:schemeClr val="dk2"/>
              </a:buClr>
              <a:buSzPct val="166666"/>
            </a:pPr>
            <a:endParaRPr lang="en" i="1" dirty="0"/>
          </a:p>
          <a:p>
            <a:pPr marL="533400" lvl="0" indent="-457200">
              <a:buClr>
                <a:schemeClr val="dk2"/>
              </a:buClr>
              <a:buSzPct val="166666"/>
              <a:buAutoNum type="alphaLcPeriod"/>
            </a:pPr>
            <a:endParaRPr lang="en" sz="1400" i="1" dirty="0"/>
          </a:p>
          <a:p>
            <a:pPr marL="533400" lvl="0" indent="-457200">
              <a:buClr>
                <a:schemeClr val="dk2"/>
              </a:buClr>
              <a:buSzPct val="166666"/>
              <a:buAutoNum type="alphaLcPeriod"/>
            </a:pPr>
            <a:r>
              <a:rPr lang="en" i="1" dirty="0"/>
              <a:t>Cucumber – is a Test automation tool written in Gherkin format to support Behavior driven development.</a:t>
            </a:r>
          </a:p>
          <a:p>
            <a:pPr marL="533400" lvl="0" indent="-457200">
              <a:buClr>
                <a:schemeClr val="dk2"/>
              </a:buClr>
              <a:buSzPct val="166666"/>
              <a:buAutoNum type="alphaLcPeriod"/>
            </a:pPr>
            <a:endParaRPr lang="en" i="1" dirty="0"/>
          </a:p>
          <a:p>
            <a:pPr marL="533400" lvl="0" indent="-457200">
              <a:buClr>
                <a:schemeClr val="dk2"/>
              </a:buClr>
              <a:buSzPct val="166666"/>
              <a:buAutoNum type="alphaLcPeriod"/>
            </a:pPr>
            <a:r>
              <a:rPr lang="en" i="1" dirty="0"/>
              <a:t>Selenium WebDriver – creates browser based robust automation test scripts.</a:t>
            </a:r>
          </a:p>
          <a:p>
            <a:pPr marL="533400" lvl="0" indent="-457200">
              <a:buClr>
                <a:schemeClr val="dk2"/>
              </a:buClr>
              <a:buSzPct val="166666"/>
              <a:buAutoNum type="alphaLcPeriod"/>
            </a:pPr>
            <a:endParaRPr lang="en" i="1" dirty="0"/>
          </a:p>
          <a:p>
            <a:pPr marL="533400" lvl="0" indent="-457200">
              <a:buClr>
                <a:schemeClr val="dk2"/>
              </a:buClr>
              <a:buSzPct val="166666"/>
              <a:buAutoNum type="alphaLcPeriod"/>
            </a:pPr>
            <a:r>
              <a:rPr lang="en" i="1" dirty="0"/>
              <a:t>TestNG – is an Open source automation framework for Java.</a:t>
            </a:r>
          </a:p>
          <a:p>
            <a:pPr marL="533400" lvl="0" indent="-457200">
              <a:buClr>
                <a:schemeClr val="dk2"/>
              </a:buClr>
              <a:buSzPct val="166666"/>
              <a:buAutoNum type="alphaLcPeriod"/>
            </a:pPr>
            <a:endParaRPr lang="en" i="1" dirty="0"/>
          </a:p>
          <a:p>
            <a:pPr marL="533400" lvl="0" indent="-457200">
              <a:buClr>
                <a:schemeClr val="dk2"/>
              </a:buClr>
              <a:buSzPct val="166666"/>
              <a:buAutoNum type="alphaLcPeriod"/>
            </a:pPr>
            <a:r>
              <a:rPr lang="en" i="1" dirty="0"/>
              <a:t>Java Jars – to support the entire framework with an integration of Java jar files</a:t>
            </a:r>
            <a:r>
              <a:rPr lang="en" i="1" dirty="0" smtClean="0"/>
              <a:t>.</a:t>
            </a:r>
          </a:p>
          <a:p>
            <a:pPr marL="76200" lvl="0">
              <a:buClr>
                <a:schemeClr val="dk2"/>
              </a:buClr>
              <a:buSzPct val="166666"/>
            </a:pPr>
            <a:endParaRPr lang="en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37E43-1777-4041-A91C-6CD9150D7C5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57275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66294-B891-4C90-A77C-BCBD15A87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ion Framework..</a:t>
            </a:r>
            <a:r>
              <a:rPr lang="en-US" sz="1200" i="1" dirty="0"/>
              <a:t>cont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0EC04-0315-4928-BE8B-A414ECBD36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sz="2400" i="1" dirty="0" smtClean="0"/>
              <a:t>BDD </a:t>
            </a:r>
            <a:r>
              <a:rPr lang="en-US" sz="2400" i="1" dirty="0"/>
              <a:t>Cucumber Framework</a:t>
            </a:r>
            <a:r>
              <a:rPr lang="en-US" sz="2400" i="1" dirty="0" smtClean="0"/>
              <a:t>:-</a:t>
            </a:r>
            <a:endParaRPr lang="en-US" sz="2400" i="1" dirty="0"/>
          </a:p>
          <a:p>
            <a:endParaRPr lang="en-US" i="1" dirty="0" smtClean="0"/>
          </a:p>
          <a:p>
            <a:r>
              <a:rPr lang="en-US" i="1" dirty="0" smtClean="0"/>
              <a:t>Feature </a:t>
            </a:r>
            <a:r>
              <a:rPr lang="en-US" i="1" dirty="0"/>
              <a:t>file</a:t>
            </a:r>
            <a:r>
              <a:rPr lang="en-US" dirty="0"/>
              <a:t> – is an entry point to the Cucumber tests, which it </a:t>
            </a:r>
            <a:r>
              <a:rPr lang="en-US" dirty="0" smtClean="0"/>
              <a:t>contains </a:t>
            </a:r>
            <a:r>
              <a:rPr lang="en-US" dirty="0"/>
              <a:t>scenario/scenarios in a single feature file.</a:t>
            </a:r>
          </a:p>
          <a:p>
            <a:endParaRPr lang="en-US" dirty="0"/>
          </a:p>
          <a:p>
            <a:r>
              <a:rPr lang="en-US" i="1" dirty="0"/>
              <a:t>Step Definition file</a:t>
            </a:r>
            <a:r>
              <a:rPr lang="en-US" dirty="0"/>
              <a:t> – contains a piece of code with a pattern </a:t>
            </a:r>
            <a:r>
              <a:rPr lang="en-US" dirty="0" smtClean="0"/>
              <a:t>attached </a:t>
            </a:r>
            <a:r>
              <a:rPr lang="en-US" dirty="0"/>
              <a:t>to it.</a:t>
            </a:r>
          </a:p>
          <a:p>
            <a:endParaRPr lang="en-US" dirty="0"/>
          </a:p>
          <a:p>
            <a:r>
              <a:rPr lang="en-US" i="1" dirty="0"/>
              <a:t>TestRunner file</a:t>
            </a:r>
            <a:r>
              <a:rPr lang="en-US" dirty="0"/>
              <a:t> – is a file that executes the feature file and writes </a:t>
            </a:r>
            <a:r>
              <a:rPr lang="en-US" dirty="0" smtClean="0"/>
              <a:t>the </a:t>
            </a:r>
            <a:r>
              <a:rPr lang="en-US" dirty="0"/>
              <a:t>test results in console.</a:t>
            </a:r>
          </a:p>
          <a:p>
            <a:endParaRPr lang="en-US" dirty="0"/>
          </a:p>
          <a:p>
            <a:r>
              <a:rPr lang="en-US" i="1" dirty="0"/>
              <a:t>Testng.xml file</a:t>
            </a:r>
            <a:r>
              <a:rPr lang="en-US" dirty="0"/>
              <a:t> – is a configuration file in TestNG, which is used to </a:t>
            </a:r>
            <a:r>
              <a:rPr lang="en-US" dirty="0" smtClean="0"/>
              <a:t>define </a:t>
            </a:r>
            <a:r>
              <a:rPr lang="en-US" dirty="0"/>
              <a:t>test suites and test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37E43-1777-4041-A91C-6CD9150D7C5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41211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3600" y="1341437"/>
            <a:ext cx="10665600" cy="4706665"/>
          </a:xfrm>
        </p:spPr>
        <p:txBody>
          <a:bodyPr/>
          <a:lstStyle/>
          <a:p>
            <a:r>
              <a:rPr lang="en-US" sz="1800" dirty="0" smtClean="0"/>
              <a:t>This framework is scalable to append other parameters as well of the Role Management.</a:t>
            </a:r>
          </a:p>
          <a:p>
            <a:endParaRPr lang="en-US" sz="1800" dirty="0" smtClean="0"/>
          </a:p>
          <a:p>
            <a:r>
              <a:rPr lang="en-US" sz="1800" b="1" dirty="0" smtClean="0"/>
              <a:t>Reusability of Automation Tests</a:t>
            </a:r>
            <a:r>
              <a:rPr lang="en-US" dirty="0" smtClean="0"/>
              <a:t> – The same feature file can be executed multiple times for different Role names.</a:t>
            </a:r>
            <a:endParaRPr lang="en-US" sz="1800" dirty="0" smtClean="0"/>
          </a:p>
          <a:p>
            <a:r>
              <a:rPr lang="en-US" sz="1800" b="1" dirty="0" smtClean="0"/>
              <a:t>Faster Feedback </a:t>
            </a:r>
            <a:r>
              <a:rPr lang="en-US" dirty="0" smtClean="0"/>
              <a:t>– The script executes </a:t>
            </a:r>
            <a:r>
              <a:rPr lang="en-US" dirty="0"/>
              <a:t>quickly </a:t>
            </a:r>
            <a:r>
              <a:rPr lang="en-US" dirty="0" smtClean="0"/>
              <a:t>and provides status of the Role Management functionality.</a:t>
            </a:r>
          </a:p>
          <a:p>
            <a:r>
              <a:rPr lang="en-US" sz="1800" b="1" dirty="0" smtClean="0"/>
              <a:t>Testing Efficiency Improvement</a:t>
            </a:r>
            <a:r>
              <a:rPr lang="en-US" dirty="0" smtClean="0"/>
              <a:t> – The script thoroughly checks all the parameters and its values of the schema against to application in the system.</a:t>
            </a:r>
            <a:endParaRPr lang="en-US" sz="1800" dirty="0" smtClean="0"/>
          </a:p>
          <a:p>
            <a:r>
              <a:rPr lang="en-US" sz="1800" b="1" dirty="0" smtClean="0"/>
              <a:t>Earlier Detection of Defects </a:t>
            </a:r>
            <a:r>
              <a:rPr lang="en-US" dirty="0" smtClean="0"/>
              <a:t>– This framework helps in identifying the defects at earlier state of validating the results.</a:t>
            </a:r>
            <a:endParaRPr lang="en-US" sz="1800" dirty="0" smtClean="0"/>
          </a:p>
          <a:p>
            <a:endParaRPr lang="en-US" sz="1800" dirty="0" smtClean="0"/>
          </a:p>
          <a:p>
            <a:r>
              <a:rPr lang="en-US" sz="1800" dirty="0" smtClean="0"/>
              <a:t>Finally, it saves lot of time and gives more benefits to the user by executing this framework and scripts.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endParaRPr lang="en-AU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2289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66294-B891-4C90-A77C-BCBD15A87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xecution steps and Report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0EC04-0315-4928-BE8B-A414ECBD36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3600" y="1341438"/>
            <a:ext cx="10665600" cy="4536848"/>
          </a:xfrm>
        </p:spPr>
        <p:txBody>
          <a:bodyPr/>
          <a:lstStyle/>
          <a:p>
            <a:endParaRPr lang="en-AU" dirty="0" smtClean="0"/>
          </a:p>
          <a:p>
            <a:r>
              <a:rPr lang="en-AU" sz="2400" dirty="0" smtClean="0"/>
              <a:t>Test </a:t>
            </a:r>
            <a:r>
              <a:rPr lang="en-AU" sz="2400" dirty="0"/>
              <a:t>Script execution:-</a:t>
            </a:r>
          </a:p>
          <a:p>
            <a:r>
              <a:rPr lang="en-AU" sz="1400" dirty="0"/>
              <a:t>Right click on testng.xml file and chose Run-&gt;TestNG Suite option.</a:t>
            </a:r>
            <a:endParaRPr lang="en-AU" dirty="0"/>
          </a:p>
          <a:p>
            <a:endParaRPr lang="en-AU" dirty="0"/>
          </a:p>
          <a:p>
            <a:r>
              <a:rPr lang="en-AU" sz="2400" dirty="0"/>
              <a:t>Test Reports:-</a:t>
            </a:r>
          </a:p>
          <a:p>
            <a:r>
              <a:rPr lang="en-AU" dirty="0"/>
              <a:t>test-output-&gt;emailable-report.html, </a:t>
            </a:r>
            <a:r>
              <a:rPr lang="en-AU" dirty="0" smtClean="0"/>
              <a:t>index.html, Extent report.</a:t>
            </a:r>
          </a:p>
          <a:p>
            <a:endParaRPr lang="en-AU" dirty="0"/>
          </a:p>
          <a:p>
            <a:r>
              <a:rPr lang="en-AU" sz="2400" dirty="0"/>
              <a:t>Logs:- </a:t>
            </a:r>
          </a:p>
          <a:p>
            <a:r>
              <a:rPr lang="en-AU" dirty="0"/>
              <a:t>Console output can be verified in this file.</a:t>
            </a:r>
          </a:p>
          <a:p>
            <a:endParaRPr lang="en-AU" dirty="0"/>
          </a:p>
          <a:p>
            <a:r>
              <a:rPr lang="en-AU" sz="2400" dirty="0"/>
              <a:t>Screenshots:-</a:t>
            </a:r>
          </a:p>
          <a:p>
            <a:r>
              <a:rPr lang="en-AU" dirty="0" smtClean="0"/>
              <a:t>Capture screenshot </a:t>
            </a:r>
            <a:r>
              <a:rPr lang="en-AU" dirty="0"/>
              <a:t>for </a:t>
            </a:r>
            <a:r>
              <a:rPr lang="en-AU" dirty="0" smtClean="0"/>
              <a:t>unmatched results automatically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37E43-1777-4041-A91C-6CD9150D7C5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20546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66294-B891-4C90-A77C-BCBD15A87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uture opportuniti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0EC04-0315-4928-BE8B-A414ECBD36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AU" dirty="0" smtClean="0"/>
          </a:p>
          <a:p>
            <a:endParaRPr lang="en-AU" sz="2400" dirty="0" smtClean="0"/>
          </a:p>
          <a:p>
            <a:r>
              <a:rPr lang="en-AU" sz="2400" dirty="0" smtClean="0"/>
              <a:t>Jenkins </a:t>
            </a:r>
            <a:r>
              <a:rPr lang="en-AU" sz="2400" dirty="0"/>
              <a:t>setup for Continuous Integration &amp; Continuous Deployment.</a:t>
            </a:r>
          </a:p>
          <a:p>
            <a:endParaRPr lang="en-AU" sz="2400" dirty="0"/>
          </a:p>
          <a:p>
            <a:r>
              <a:rPr lang="en-AU" sz="2400" dirty="0"/>
              <a:t>Support Parallel Testing in both Standalone and Virtual Machines – Selenium Grid/Docker etc.</a:t>
            </a:r>
          </a:p>
          <a:p>
            <a:endParaRPr lang="en-AU" sz="2400" dirty="0"/>
          </a:p>
          <a:p>
            <a:r>
              <a:rPr lang="en-AU" sz="2400" dirty="0"/>
              <a:t>Maven Integration setup with advanced Reporting plugins &amp; Tracking the script execution log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37E43-1777-4041-A91C-6CD9150D7C5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185EA1E-79F1-42FE-BF0E-812787AB23E5}" type="slidenum">
              <a:rPr lang="en-AU" smtClean="0"/>
              <a:pPr/>
              <a:t>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8621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MLXoquFUuVBLf2_EW2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MLXoquFUuVBLf2_EW2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MLXoquFUuVBLf2_EW2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MLXoquFUuVBLf2_EW23A"/>
</p:tagLst>
</file>

<file path=ppt/theme/theme1.xml><?xml version="1.0" encoding="utf-8"?>
<a:theme xmlns:a="http://schemas.openxmlformats.org/drawingml/2006/main" name="ANZ">
  <a:themeElements>
    <a:clrScheme name="ANZ">
      <a:dk1>
        <a:srgbClr val="595A5B"/>
      </a:dk1>
      <a:lt1>
        <a:srgbClr val="FFFFFF"/>
      </a:lt1>
      <a:dk2>
        <a:srgbClr val="007DBA"/>
      </a:dk2>
      <a:lt2>
        <a:srgbClr val="004165"/>
      </a:lt2>
      <a:accent1>
        <a:srgbClr val="394A58"/>
      </a:accent1>
      <a:accent2>
        <a:srgbClr val="7A99AC"/>
      </a:accent2>
      <a:accent3>
        <a:srgbClr val="B9C9D0"/>
      </a:accent3>
      <a:accent4>
        <a:srgbClr val="00C6D7"/>
      </a:accent4>
      <a:accent5>
        <a:srgbClr val="D3CD8B"/>
      </a:accent5>
      <a:accent6>
        <a:srgbClr val="DF7A00"/>
      </a:accent6>
      <a:hlink>
        <a:srgbClr val="0000FF"/>
      </a:hlink>
      <a:folHlink>
        <a:srgbClr val="800080"/>
      </a:folHlink>
    </a:clrScheme>
    <a:fontScheme name="ANZ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C6DFEA"/>
    </a:custClr>
    <a:custClr name="Custom Color 2">
      <a:srgbClr val="B9CCC3"/>
    </a:custClr>
    <a:custClr name="Custom Color 3">
      <a:srgbClr val="EDE8C4"/>
    </a:custClr>
    <a:custClr name="Custom Color 4">
      <a:srgbClr val="747678"/>
    </a:custClr>
    <a:custClr name="Custom Color 5">
      <a:srgbClr val="AA9C8F"/>
    </a:custClr>
    <a:custClr name="Custom Color 6">
      <a:srgbClr val="FDC82F"/>
    </a:custClr>
    <a:custClr name="Custom Color 7">
      <a:srgbClr val="589199"/>
    </a:custClr>
    <a:custClr name="Custom Color 8">
      <a:srgbClr val="5BC6E8"/>
    </a:custClr>
  </a:custClr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ANZ">
  <a:themeElements>
    <a:clrScheme name="ANZ">
      <a:dk1>
        <a:srgbClr val="595A5B"/>
      </a:dk1>
      <a:lt1>
        <a:srgbClr val="FFFFFF"/>
      </a:lt1>
      <a:dk2>
        <a:srgbClr val="007DBA"/>
      </a:dk2>
      <a:lt2>
        <a:srgbClr val="004165"/>
      </a:lt2>
      <a:accent1>
        <a:srgbClr val="394A58"/>
      </a:accent1>
      <a:accent2>
        <a:srgbClr val="7A99AC"/>
      </a:accent2>
      <a:accent3>
        <a:srgbClr val="B9C9D0"/>
      </a:accent3>
      <a:accent4>
        <a:srgbClr val="00C6D7"/>
      </a:accent4>
      <a:accent5>
        <a:srgbClr val="D3CD8B"/>
      </a:accent5>
      <a:accent6>
        <a:srgbClr val="DF7A00"/>
      </a:accent6>
      <a:hlink>
        <a:srgbClr val="0000FF"/>
      </a:hlink>
      <a:folHlink>
        <a:srgbClr val="800080"/>
      </a:folHlink>
    </a:clrScheme>
    <a:fontScheme name="ANZ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C6DFEA"/>
    </a:custClr>
    <a:custClr name="Custom Color 2">
      <a:srgbClr val="B9CCC3"/>
    </a:custClr>
    <a:custClr name="Custom Color 3">
      <a:srgbClr val="EDE8C4"/>
    </a:custClr>
    <a:custClr name="Custom Color 4">
      <a:srgbClr val="747678"/>
    </a:custClr>
    <a:custClr name="Custom Color 5">
      <a:srgbClr val="AA9C8F"/>
    </a:custClr>
    <a:custClr name="Custom Color 6">
      <a:srgbClr val="FDC82F"/>
    </a:custClr>
    <a:custClr name="Custom Color 7">
      <a:srgbClr val="589199"/>
    </a:custClr>
    <a:custClr name="Custom Color 8">
      <a:srgbClr val="5BC6E8"/>
    </a:custClr>
  </a:custClrLst>
</a:theme>
</file>

<file path=ppt/theme/theme3.xml><?xml version="1.0" encoding="utf-8"?>
<a:theme xmlns:a="http://schemas.openxmlformats.org/drawingml/2006/main" name="1_ANZ">
  <a:themeElements>
    <a:clrScheme name="ANZ">
      <a:dk1>
        <a:srgbClr val="595A5B"/>
      </a:dk1>
      <a:lt1>
        <a:srgbClr val="FFFFFF"/>
      </a:lt1>
      <a:dk2>
        <a:srgbClr val="007DBA"/>
      </a:dk2>
      <a:lt2>
        <a:srgbClr val="004165"/>
      </a:lt2>
      <a:accent1>
        <a:srgbClr val="394A58"/>
      </a:accent1>
      <a:accent2>
        <a:srgbClr val="7A99AC"/>
      </a:accent2>
      <a:accent3>
        <a:srgbClr val="B9C9D0"/>
      </a:accent3>
      <a:accent4>
        <a:srgbClr val="00C6D7"/>
      </a:accent4>
      <a:accent5>
        <a:srgbClr val="D3CD8B"/>
      </a:accent5>
      <a:accent6>
        <a:srgbClr val="DF7A00"/>
      </a:accent6>
      <a:hlink>
        <a:srgbClr val="0000FF"/>
      </a:hlink>
      <a:folHlink>
        <a:srgbClr val="800080"/>
      </a:folHlink>
    </a:clrScheme>
    <a:fontScheme name="ANZ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C6DFEA"/>
    </a:custClr>
    <a:custClr name="Custom Color 2">
      <a:srgbClr val="B9CCC3"/>
    </a:custClr>
    <a:custClr name="Custom Color 3">
      <a:srgbClr val="EDE8C4"/>
    </a:custClr>
    <a:custClr name="Custom Color 4">
      <a:srgbClr val="747678"/>
    </a:custClr>
    <a:custClr name="Custom Color 5">
      <a:srgbClr val="AA9C8F"/>
    </a:custClr>
    <a:custClr name="Custom Color 6">
      <a:srgbClr val="FDC82F"/>
    </a:custClr>
    <a:custClr name="Custom Color 7">
      <a:srgbClr val="589199"/>
    </a:custClr>
    <a:custClr name="Custom Color 8">
      <a:srgbClr val="5BC6E8"/>
    </a:custClr>
  </a:custClrLst>
</a:theme>
</file>

<file path=ppt/theme/theme4.xml><?xml version="1.0" encoding="utf-8"?>
<a:theme xmlns:a="http://schemas.openxmlformats.org/drawingml/2006/main" name="3_ANZ">
  <a:themeElements>
    <a:clrScheme name="ANZ">
      <a:dk1>
        <a:srgbClr val="595A5B"/>
      </a:dk1>
      <a:lt1>
        <a:srgbClr val="FFFFFF"/>
      </a:lt1>
      <a:dk2>
        <a:srgbClr val="007DBA"/>
      </a:dk2>
      <a:lt2>
        <a:srgbClr val="004165"/>
      </a:lt2>
      <a:accent1>
        <a:srgbClr val="394A58"/>
      </a:accent1>
      <a:accent2>
        <a:srgbClr val="7A99AC"/>
      </a:accent2>
      <a:accent3>
        <a:srgbClr val="B9C9D0"/>
      </a:accent3>
      <a:accent4>
        <a:srgbClr val="00C6D7"/>
      </a:accent4>
      <a:accent5>
        <a:srgbClr val="D3CD8B"/>
      </a:accent5>
      <a:accent6>
        <a:srgbClr val="DF7A00"/>
      </a:accent6>
      <a:hlink>
        <a:srgbClr val="0000FF"/>
      </a:hlink>
      <a:folHlink>
        <a:srgbClr val="800080"/>
      </a:folHlink>
    </a:clrScheme>
    <a:fontScheme name="ANZ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C6DFEA"/>
    </a:custClr>
    <a:custClr name="Custom Color 2">
      <a:srgbClr val="B9CCC3"/>
    </a:custClr>
    <a:custClr name="Custom Color 3">
      <a:srgbClr val="EDE8C4"/>
    </a:custClr>
    <a:custClr name="Custom Color 4">
      <a:srgbClr val="747678"/>
    </a:custClr>
    <a:custClr name="Custom Color 5">
      <a:srgbClr val="AA9C8F"/>
    </a:custClr>
    <a:custClr name="Custom Color 6">
      <a:srgbClr val="FDC82F"/>
    </a:custClr>
    <a:custClr name="Custom Color 7">
      <a:srgbClr val="589199"/>
    </a:custClr>
    <a:custClr name="Custom Color 8">
      <a:srgbClr val="5BC6E8"/>
    </a:custClr>
  </a:custClrLst>
</a:theme>
</file>

<file path=ppt/theme/theme5.xml><?xml version="1.0" encoding="utf-8"?>
<a:theme xmlns:a="http://schemas.openxmlformats.org/drawingml/2006/main" name="4_ANZ">
  <a:themeElements>
    <a:clrScheme name="ANZ">
      <a:dk1>
        <a:srgbClr val="595A5B"/>
      </a:dk1>
      <a:lt1>
        <a:srgbClr val="FFFFFF"/>
      </a:lt1>
      <a:dk2>
        <a:srgbClr val="007DBA"/>
      </a:dk2>
      <a:lt2>
        <a:srgbClr val="004165"/>
      </a:lt2>
      <a:accent1>
        <a:srgbClr val="394A58"/>
      </a:accent1>
      <a:accent2>
        <a:srgbClr val="7A99AC"/>
      </a:accent2>
      <a:accent3>
        <a:srgbClr val="B9C9D0"/>
      </a:accent3>
      <a:accent4>
        <a:srgbClr val="00C6D7"/>
      </a:accent4>
      <a:accent5>
        <a:srgbClr val="D3CD8B"/>
      </a:accent5>
      <a:accent6>
        <a:srgbClr val="DF7A00"/>
      </a:accent6>
      <a:hlink>
        <a:srgbClr val="0000FF"/>
      </a:hlink>
      <a:folHlink>
        <a:srgbClr val="800080"/>
      </a:folHlink>
    </a:clrScheme>
    <a:fontScheme name="ANZ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C6DFEA"/>
    </a:custClr>
    <a:custClr name="Custom Color 2">
      <a:srgbClr val="B9CCC3"/>
    </a:custClr>
    <a:custClr name="Custom Color 3">
      <a:srgbClr val="EDE8C4"/>
    </a:custClr>
    <a:custClr name="Custom Color 4">
      <a:srgbClr val="747678"/>
    </a:custClr>
    <a:custClr name="Custom Color 5">
      <a:srgbClr val="AA9C8F"/>
    </a:custClr>
    <a:custClr name="Custom Color 6">
      <a:srgbClr val="FDC82F"/>
    </a:custClr>
    <a:custClr name="Custom Color 7">
      <a:srgbClr val="589199"/>
    </a:custClr>
    <a:custClr name="Custom Color 8">
      <a:srgbClr val="5BC6E8"/>
    </a:custClr>
  </a:custClrLst>
</a:theme>
</file>

<file path=ppt/theme/theme6.xml><?xml version="1.0" encoding="utf-8"?>
<a:theme xmlns:a="http://schemas.openxmlformats.org/drawingml/2006/main" name="5_ANZ">
  <a:themeElements>
    <a:clrScheme name="ANZ">
      <a:dk1>
        <a:srgbClr val="595A5B"/>
      </a:dk1>
      <a:lt1>
        <a:srgbClr val="FFFFFF"/>
      </a:lt1>
      <a:dk2>
        <a:srgbClr val="007DBA"/>
      </a:dk2>
      <a:lt2>
        <a:srgbClr val="004165"/>
      </a:lt2>
      <a:accent1>
        <a:srgbClr val="394A58"/>
      </a:accent1>
      <a:accent2>
        <a:srgbClr val="7A99AC"/>
      </a:accent2>
      <a:accent3>
        <a:srgbClr val="B9C9D0"/>
      </a:accent3>
      <a:accent4>
        <a:srgbClr val="00C6D7"/>
      </a:accent4>
      <a:accent5>
        <a:srgbClr val="D3CD8B"/>
      </a:accent5>
      <a:accent6>
        <a:srgbClr val="DF7A00"/>
      </a:accent6>
      <a:hlink>
        <a:srgbClr val="0000FF"/>
      </a:hlink>
      <a:folHlink>
        <a:srgbClr val="800080"/>
      </a:folHlink>
    </a:clrScheme>
    <a:fontScheme name="ANZ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C6DFEA"/>
    </a:custClr>
    <a:custClr name="Custom Color 2">
      <a:srgbClr val="B9CCC3"/>
    </a:custClr>
    <a:custClr name="Custom Color 3">
      <a:srgbClr val="EDE8C4"/>
    </a:custClr>
    <a:custClr name="Custom Color 4">
      <a:srgbClr val="747678"/>
    </a:custClr>
    <a:custClr name="Custom Color 5">
      <a:srgbClr val="AA9C8F"/>
    </a:custClr>
    <a:custClr name="Custom Color 6">
      <a:srgbClr val="FDC82F"/>
    </a:custClr>
    <a:custClr name="Custom Color 7">
      <a:srgbClr val="589199"/>
    </a:custClr>
    <a:custClr name="Custom Color 8">
      <a:srgbClr val="5BC6E8"/>
    </a:custClr>
  </a:custClrLst>
</a:theme>
</file>

<file path=ppt/theme/theme7.xml><?xml version="1.0" encoding="utf-8"?>
<a:theme xmlns:a="http://schemas.openxmlformats.org/drawingml/2006/main" name="6_ANZ">
  <a:themeElements>
    <a:clrScheme name="ANZ">
      <a:dk1>
        <a:srgbClr val="595A5B"/>
      </a:dk1>
      <a:lt1>
        <a:srgbClr val="FFFFFF"/>
      </a:lt1>
      <a:dk2>
        <a:srgbClr val="007DBA"/>
      </a:dk2>
      <a:lt2>
        <a:srgbClr val="004165"/>
      </a:lt2>
      <a:accent1>
        <a:srgbClr val="394A58"/>
      </a:accent1>
      <a:accent2>
        <a:srgbClr val="7A99AC"/>
      </a:accent2>
      <a:accent3>
        <a:srgbClr val="B9C9D0"/>
      </a:accent3>
      <a:accent4>
        <a:srgbClr val="00C6D7"/>
      </a:accent4>
      <a:accent5>
        <a:srgbClr val="D3CD8B"/>
      </a:accent5>
      <a:accent6>
        <a:srgbClr val="DF7A00"/>
      </a:accent6>
      <a:hlink>
        <a:srgbClr val="0000FF"/>
      </a:hlink>
      <a:folHlink>
        <a:srgbClr val="800080"/>
      </a:folHlink>
    </a:clrScheme>
    <a:fontScheme name="ANZ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C6DFEA"/>
    </a:custClr>
    <a:custClr name="Custom Color 2">
      <a:srgbClr val="B9CCC3"/>
    </a:custClr>
    <a:custClr name="Custom Color 3">
      <a:srgbClr val="EDE8C4"/>
    </a:custClr>
    <a:custClr name="Custom Color 4">
      <a:srgbClr val="747678"/>
    </a:custClr>
    <a:custClr name="Custom Color 5">
      <a:srgbClr val="AA9C8F"/>
    </a:custClr>
    <a:custClr name="Custom Color 6">
      <a:srgbClr val="FDC82F"/>
    </a:custClr>
    <a:custClr name="Custom Color 7">
      <a:srgbClr val="589199"/>
    </a:custClr>
    <a:custClr name="Custom Color 8">
      <a:srgbClr val="5BC6E8"/>
    </a:custClr>
  </a:custClrLst>
</a:theme>
</file>

<file path=ppt/theme/theme8.xml><?xml version="1.0" encoding="utf-8"?>
<a:theme xmlns:a="http://schemas.openxmlformats.org/drawingml/2006/main" name="7_ANZ">
  <a:themeElements>
    <a:clrScheme name="ANZ">
      <a:dk1>
        <a:srgbClr val="595A5B"/>
      </a:dk1>
      <a:lt1>
        <a:srgbClr val="FFFFFF"/>
      </a:lt1>
      <a:dk2>
        <a:srgbClr val="007DBA"/>
      </a:dk2>
      <a:lt2>
        <a:srgbClr val="004165"/>
      </a:lt2>
      <a:accent1>
        <a:srgbClr val="394A58"/>
      </a:accent1>
      <a:accent2>
        <a:srgbClr val="7A99AC"/>
      </a:accent2>
      <a:accent3>
        <a:srgbClr val="B9C9D0"/>
      </a:accent3>
      <a:accent4>
        <a:srgbClr val="00C6D7"/>
      </a:accent4>
      <a:accent5>
        <a:srgbClr val="D3CD8B"/>
      </a:accent5>
      <a:accent6>
        <a:srgbClr val="DF7A00"/>
      </a:accent6>
      <a:hlink>
        <a:srgbClr val="0000FF"/>
      </a:hlink>
      <a:folHlink>
        <a:srgbClr val="800080"/>
      </a:folHlink>
    </a:clrScheme>
    <a:fontScheme name="ANZ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C6DFEA"/>
    </a:custClr>
    <a:custClr name="Custom Color 2">
      <a:srgbClr val="B9CCC3"/>
    </a:custClr>
    <a:custClr name="Custom Color 3">
      <a:srgbClr val="EDE8C4"/>
    </a:custClr>
    <a:custClr name="Custom Color 4">
      <a:srgbClr val="747678"/>
    </a:custClr>
    <a:custClr name="Custom Color 5">
      <a:srgbClr val="AA9C8F"/>
    </a:custClr>
    <a:custClr name="Custom Color 6">
      <a:srgbClr val="FDC82F"/>
    </a:custClr>
    <a:custClr name="Custom Color 7">
      <a:srgbClr val="589199"/>
    </a:custClr>
    <a:custClr name="Custom Color 8">
      <a:srgbClr val="5BC6E8"/>
    </a:custClr>
  </a:custClr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6109</TotalTime>
  <Words>487</Words>
  <Application>Microsoft Office PowerPoint</Application>
  <PresentationFormat>Widescreen</PresentationFormat>
  <Paragraphs>99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10</vt:i4>
      </vt:variant>
    </vt:vector>
  </HeadingPairs>
  <TitlesOfParts>
    <vt:vector size="25" baseType="lpstr">
      <vt:lpstr>Arial</vt:lpstr>
      <vt:lpstr>Avenir Next Medium</vt:lpstr>
      <vt:lpstr>Avenir Next Regular</vt:lpstr>
      <vt:lpstr>Calibri</vt:lpstr>
      <vt:lpstr>Proxima Nova Semibold</vt:lpstr>
      <vt:lpstr>Times New Roman</vt:lpstr>
      <vt:lpstr>Verdana</vt:lpstr>
      <vt:lpstr>ANZ</vt:lpstr>
      <vt:lpstr>2_ANZ</vt:lpstr>
      <vt:lpstr>1_ANZ</vt:lpstr>
      <vt:lpstr>3_ANZ</vt:lpstr>
      <vt:lpstr>4_ANZ</vt:lpstr>
      <vt:lpstr>5_ANZ</vt:lpstr>
      <vt:lpstr>6_ANZ</vt:lpstr>
      <vt:lpstr>7_ANZ</vt:lpstr>
      <vt:lpstr>ANZ - Wipro</vt:lpstr>
      <vt:lpstr>Agenda</vt:lpstr>
      <vt:lpstr>Current scenario</vt:lpstr>
      <vt:lpstr>Automation scope</vt:lpstr>
      <vt:lpstr>Automation Framework</vt:lpstr>
      <vt:lpstr>Automation Framework..contd</vt:lpstr>
      <vt:lpstr>benefits</vt:lpstr>
      <vt:lpstr>Execution steps and Reports</vt:lpstr>
      <vt:lpstr>Future opportunities</vt:lpstr>
      <vt:lpstr>PowerPoint Presentation</vt:lpstr>
    </vt:vector>
  </TitlesOfParts>
  <Company>AN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ec Forum</dc:title>
  <dc:creator>Bruce Ahearne</dc:creator>
  <cp:keywords>ANZ-Wipro</cp:keywords>
  <cp:lastModifiedBy>Moharana, Soumyaranjan</cp:lastModifiedBy>
  <cp:revision>2447</cp:revision>
  <cp:lastPrinted>2019-09-16T12:13:56Z</cp:lastPrinted>
  <dcterms:created xsi:type="dcterms:W3CDTF">2012-02-23T21:17:12Z</dcterms:created>
  <dcterms:modified xsi:type="dcterms:W3CDTF">2020-01-21T13:5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wner">
    <vt:lpwstr>TBS - TVM</vt:lpwstr>
  </property>
  <property fmtid="{D5CDD505-2E9C-101B-9397-08002B2CF9AE}" pid="3" name="MSIP_Label_b9a70571-31c6-4603-80c1-ef2fb871a62a_Enabled">
    <vt:lpwstr>True</vt:lpwstr>
  </property>
  <property fmtid="{D5CDD505-2E9C-101B-9397-08002B2CF9AE}" pid="4" name="MSIP_Label_b9a70571-31c6-4603-80c1-ef2fb871a62a_SiteId">
    <vt:lpwstr>258ac4e4-146a-411e-9dc8-79a9e12fd6da</vt:lpwstr>
  </property>
  <property fmtid="{D5CDD505-2E9C-101B-9397-08002B2CF9AE}" pid="5" name="MSIP_Label_b9a70571-31c6-4603-80c1-ef2fb871a62a_Ref">
    <vt:lpwstr>https://api.informationprotection.azure.com/api/258ac4e4-146a-411e-9dc8-79a9e12fd6da</vt:lpwstr>
  </property>
  <property fmtid="{D5CDD505-2E9C-101B-9397-08002B2CF9AE}" pid="6" name="MSIP_Label_b9a70571-31c6-4603-80c1-ef2fb871a62a_Owner">
    <vt:lpwstr>AJ328047@wipro.com</vt:lpwstr>
  </property>
  <property fmtid="{D5CDD505-2E9C-101B-9397-08002B2CF9AE}" pid="7" name="MSIP_Label_b9a70571-31c6-4603-80c1-ef2fb871a62a_SetDate">
    <vt:lpwstr>2018-06-20T13:54:12.2516470+10:00</vt:lpwstr>
  </property>
  <property fmtid="{D5CDD505-2E9C-101B-9397-08002B2CF9AE}" pid="8" name="MSIP_Label_b9a70571-31c6-4603-80c1-ef2fb871a62a_Name">
    <vt:lpwstr>Internal and Restricted</vt:lpwstr>
  </property>
  <property fmtid="{D5CDD505-2E9C-101B-9397-08002B2CF9AE}" pid="9" name="MSIP_Label_b9a70571-31c6-4603-80c1-ef2fb871a62a_Application">
    <vt:lpwstr>Microsoft Azure Information Protection</vt:lpwstr>
  </property>
  <property fmtid="{D5CDD505-2E9C-101B-9397-08002B2CF9AE}" pid="10" name="MSIP_Label_b9a70571-31c6-4603-80c1-ef2fb871a62a_Extended_MSFT_Method">
    <vt:lpwstr>Automatic</vt:lpwstr>
  </property>
  <property fmtid="{D5CDD505-2E9C-101B-9397-08002B2CF9AE}" pid="11" name="Sensitivity">
    <vt:lpwstr>Internal and Restricted</vt:lpwstr>
  </property>
</Properties>
</file>